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4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notesSlides/notesSlide5.xml" ContentType="application/vnd.openxmlformats-officedocument.presentationml.notesSlid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6.xml" ContentType="application/vnd.openxmlformats-officedocument.presentationml.notesSlide+xml"/>
  <Override PartName="/ppt/tags/tag116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85" r:id="rId2"/>
    <p:sldId id="260" r:id="rId3"/>
    <p:sldId id="262" r:id="rId4"/>
    <p:sldId id="264" r:id="rId5"/>
    <p:sldId id="271" r:id="rId6"/>
    <p:sldId id="259" r:id="rId7"/>
    <p:sldId id="289" r:id="rId8"/>
    <p:sldId id="290" r:id="rId9"/>
    <p:sldId id="265" r:id="rId10"/>
    <p:sldId id="266" r:id="rId11"/>
    <p:sldId id="277" r:id="rId12"/>
    <p:sldId id="291" r:id="rId13"/>
    <p:sldId id="297" r:id="rId14"/>
    <p:sldId id="278" r:id="rId15"/>
    <p:sldId id="279" r:id="rId16"/>
    <p:sldId id="280" r:id="rId17"/>
    <p:sldId id="287" r:id="rId18"/>
    <p:sldId id="281" r:id="rId19"/>
    <p:sldId id="292" r:id="rId20"/>
    <p:sldId id="284" r:id="rId21"/>
    <p:sldId id="294" r:id="rId22"/>
    <p:sldId id="296" r:id="rId23"/>
  </p:sldIdLst>
  <p:sldSz cx="12192000" cy="6858000"/>
  <p:notesSz cx="6858000" cy="9947275"/>
  <p:custDataLst>
    <p:tags r:id="rId2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39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ECF8"/>
    <a:srgbClr val="F3F1F2"/>
    <a:srgbClr val="591D42"/>
    <a:srgbClr val="76369A"/>
    <a:srgbClr val="661862"/>
    <a:srgbClr val="963A8B"/>
    <a:srgbClr val="9A8CB0"/>
    <a:srgbClr val="8000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102"/>
      </p:cViewPr>
      <p:guideLst>
        <p:guide orient="horz" pos="2160"/>
        <p:guide pos="3840"/>
        <p:guide pos="39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E1F4D3-9F68-482F-B7C2-DBDEC36F5D23}" type="datetimeFigureOut">
              <a:rPr lang="ru-RU" smtClean="0"/>
              <a:t>14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44500" y="1243013"/>
            <a:ext cx="5969000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87126"/>
            <a:ext cx="5486400" cy="39167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9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0F2C80-C3D5-43BE-92A5-D6E748920D3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7991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2407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4341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Get thousands of templates, icons, maps, diagrams and charts with Power-user. Visit https://www.powerusersoftwares.com/!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65817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template was inserted from Power-user, the productivity add-in for PowerPoint, Excel and Word.</a:t>
            </a:r>
          </a:p>
          <a:p>
            <a:r>
              <a:rPr lang="en-US" dirty="0"/>
              <a:t>Get thousands of templates, icons, maps, diagrams and charts with Power-user. Visit https://www.powerusersoftwares.com/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32808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1491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0F2C80-C3D5-43BE-92A5-D6E748920D36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05103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0F2C80-C3D5-43BE-92A5-D6E748920D36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3642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69C52-F83F-4EF0-AD93-2E813DF560CC}" type="datetimeFigureOut">
              <a:rPr lang="ru-RU" smtClean="0"/>
              <a:t>14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12A20-A1B7-49A5-BEC6-9545A099EF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36024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69C52-F83F-4EF0-AD93-2E813DF560CC}" type="datetimeFigureOut">
              <a:rPr lang="ru-RU" smtClean="0"/>
              <a:t>14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12A20-A1B7-49A5-BEC6-9545A099EF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18506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69C52-F83F-4EF0-AD93-2E813DF560CC}" type="datetimeFigureOut">
              <a:rPr lang="ru-RU" smtClean="0"/>
              <a:t>14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12A20-A1B7-49A5-BEC6-9545A099EF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76229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69C52-F83F-4EF0-AD93-2E813DF560CC}" type="datetimeFigureOut">
              <a:rPr lang="ru-RU" smtClean="0"/>
              <a:t>14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12A20-A1B7-49A5-BEC6-9545A099EF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1829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69C52-F83F-4EF0-AD93-2E813DF560CC}" type="datetimeFigureOut">
              <a:rPr lang="ru-RU" smtClean="0"/>
              <a:t>14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12A20-A1B7-49A5-BEC6-9545A099EF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96556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69C52-F83F-4EF0-AD93-2E813DF560CC}" type="datetimeFigureOut">
              <a:rPr lang="ru-RU" smtClean="0"/>
              <a:t>14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12A20-A1B7-49A5-BEC6-9545A099EF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62313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69C52-F83F-4EF0-AD93-2E813DF560CC}" type="datetimeFigureOut">
              <a:rPr lang="ru-RU" smtClean="0"/>
              <a:t>14.02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12A20-A1B7-49A5-BEC6-9545A099EF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51002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69C52-F83F-4EF0-AD93-2E813DF560CC}" type="datetimeFigureOut">
              <a:rPr lang="ru-RU" smtClean="0"/>
              <a:t>14.0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12A20-A1B7-49A5-BEC6-9545A099EF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49746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69C52-F83F-4EF0-AD93-2E813DF560CC}" type="datetimeFigureOut">
              <a:rPr lang="ru-RU" smtClean="0"/>
              <a:t>14.02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12A20-A1B7-49A5-BEC6-9545A099EF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44929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69C52-F83F-4EF0-AD93-2E813DF560CC}" type="datetimeFigureOut">
              <a:rPr lang="ru-RU" smtClean="0"/>
              <a:t>14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12A20-A1B7-49A5-BEC6-9545A099EF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68765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69C52-F83F-4EF0-AD93-2E813DF560CC}" type="datetimeFigureOut">
              <a:rPr lang="ru-RU" smtClean="0"/>
              <a:t>14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912A20-A1B7-49A5-BEC6-9545A099EF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01571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469C52-F83F-4EF0-AD93-2E813DF560CC}" type="datetimeFigureOut">
              <a:rPr lang="ru-RU" smtClean="0"/>
              <a:t>14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912A20-A1B7-49A5-BEC6-9545A099EFC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7353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tags" Target="../tags/tag85.xml"/><Relationship Id="rId39" Type="http://schemas.openxmlformats.org/officeDocument/2006/relationships/tags" Target="../tags/tag98.xml"/><Relationship Id="rId21" Type="http://schemas.openxmlformats.org/officeDocument/2006/relationships/tags" Target="../tags/tag80.xml"/><Relationship Id="rId34" Type="http://schemas.openxmlformats.org/officeDocument/2006/relationships/tags" Target="../tags/tag93.xml"/><Relationship Id="rId42" Type="http://schemas.openxmlformats.org/officeDocument/2006/relationships/tags" Target="../tags/tag101.xml"/><Relationship Id="rId47" Type="http://schemas.openxmlformats.org/officeDocument/2006/relationships/tags" Target="../tags/tag106.xml"/><Relationship Id="rId50" Type="http://schemas.openxmlformats.org/officeDocument/2006/relationships/tags" Target="../tags/tag109.xml"/><Relationship Id="rId55" Type="http://schemas.openxmlformats.org/officeDocument/2006/relationships/image" Target="../media/image4.png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9" Type="http://schemas.openxmlformats.org/officeDocument/2006/relationships/tags" Target="../tags/tag88.xml"/><Relationship Id="rId11" Type="http://schemas.openxmlformats.org/officeDocument/2006/relationships/tags" Target="../tags/tag70.xml"/><Relationship Id="rId24" Type="http://schemas.openxmlformats.org/officeDocument/2006/relationships/tags" Target="../tags/tag83.xml"/><Relationship Id="rId32" Type="http://schemas.openxmlformats.org/officeDocument/2006/relationships/tags" Target="../tags/tag91.xml"/><Relationship Id="rId37" Type="http://schemas.openxmlformats.org/officeDocument/2006/relationships/tags" Target="../tags/tag96.xml"/><Relationship Id="rId40" Type="http://schemas.openxmlformats.org/officeDocument/2006/relationships/tags" Target="../tags/tag99.xml"/><Relationship Id="rId45" Type="http://schemas.openxmlformats.org/officeDocument/2006/relationships/tags" Target="../tags/tag104.xml"/><Relationship Id="rId53" Type="http://schemas.openxmlformats.org/officeDocument/2006/relationships/slideLayout" Target="../slideLayouts/slideLayout2.xml"/><Relationship Id="rId5" Type="http://schemas.openxmlformats.org/officeDocument/2006/relationships/tags" Target="../tags/tag64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31" Type="http://schemas.openxmlformats.org/officeDocument/2006/relationships/tags" Target="../tags/tag90.xml"/><Relationship Id="rId44" Type="http://schemas.openxmlformats.org/officeDocument/2006/relationships/tags" Target="../tags/tag103.xml"/><Relationship Id="rId52" Type="http://schemas.openxmlformats.org/officeDocument/2006/relationships/tags" Target="../tags/tag111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tags" Target="../tags/tag86.xml"/><Relationship Id="rId30" Type="http://schemas.openxmlformats.org/officeDocument/2006/relationships/tags" Target="../tags/tag89.xml"/><Relationship Id="rId35" Type="http://schemas.openxmlformats.org/officeDocument/2006/relationships/tags" Target="../tags/tag94.xml"/><Relationship Id="rId43" Type="http://schemas.openxmlformats.org/officeDocument/2006/relationships/tags" Target="../tags/tag102.xml"/><Relationship Id="rId48" Type="http://schemas.openxmlformats.org/officeDocument/2006/relationships/tags" Target="../tags/tag107.xml"/><Relationship Id="rId8" Type="http://schemas.openxmlformats.org/officeDocument/2006/relationships/tags" Target="../tags/tag67.xml"/><Relationship Id="rId51" Type="http://schemas.openxmlformats.org/officeDocument/2006/relationships/tags" Target="../tags/tag110.xml"/><Relationship Id="rId3" Type="http://schemas.openxmlformats.org/officeDocument/2006/relationships/tags" Target="../tags/tag62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tags" Target="../tags/tag84.xml"/><Relationship Id="rId33" Type="http://schemas.openxmlformats.org/officeDocument/2006/relationships/tags" Target="../tags/tag92.xml"/><Relationship Id="rId38" Type="http://schemas.openxmlformats.org/officeDocument/2006/relationships/tags" Target="../tags/tag97.xml"/><Relationship Id="rId46" Type="http://schemas.openxmlformats.org/officeDocument/2006/relationships/tags" Target="../tags/tag105.xml"/><Relationship Id="rId20" Type="http://schemas.openxmlformats.org/officeDocument/2006/relationships/tags" Target="../tags/tag79.xml"/><Relationship Id="rId41" Type="http://schemas.openxmlformats.org/officeDocument/2006/relationships/tags" Target="../tags/tag100.xml"/><Relationship Id="rId54" Type="http://schemas.openxmlformats.org/officeDocument/2006/relationships/notesSlide" Target="../notesSlides/notesSlide5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28" Type="http://schemas.openxmlformats.org/officeDocument/2006/relationships/tags" Target="../tags/tag87.xml"/><Relationship Id="rId36" Type="http://schemas.openxmlformats.org/officeDocument/2006/relationships/tags" Target="../tags/tag95.xml"/><Relationship Id="rId49" Type="http://schemas.openxmlformats.org/officeDocument/2006/relationships/tags" Target="../tags/tag10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7.png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6.xml"/><Relationship Id="rId6" Type="http://schemas.openxmlformats.org/officeDocument/2006/relationships/image" Target="../media/image25.jpeg"/><Relationship Id="rId5" Type="http://schemas.openxmlformats.org/officeDocument/2006/relationships/image" Target="../media/image24.jpg"/><Relationship Id="rId4" Type="http://schemas.openxmlformats.org/officeDocument/2006/relationships/image" Target="../media/image2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image" Target="../media/image6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image" Target="../media/image5.png"/><Relationship Id="rId2" Type="http://schemas.openxmlformats.org/officeDocument/2006/relationships/tags" Target="../tags/tag7.xml"/><Relationship Id="rId16" Type="http://schemas.openxmlformats.org/officeDocument/2006/relationships/image" Target="../media/image4.pn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tags" Target="../tags/tag44.xml"/><Relationship Id="rId21" Type="http://schemas.openxmlformats.org/officeDocument/2006/relationships/tags" Target="../tags/tag39.xml"/><Relationship Id="rId34" Type="http://schemas.openxmlformats.org/officeDocument/2006/relationships/tags" Target="../tags/tag52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tags" Target="../tags/tag43.xml"/><Relationship Id="rId33" Type="http://schemas.openxmlformats.org/officeDocument/2006/relationships/tags" Target="../tags/tag51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29" Type="http://schemas.openxmlformats.org/officeDocument/2006/relationships/tags" Target="../tags/tag47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tags" Target="../tags/tag42.xml"/><Relationship Id="rId32" Type="http://schemas.openxmlformats.org/officeDocument/2006/relationships/tags" Target="../tags/tag50.xml"/><Relationship Id="rId37" Type="http://schemas.openxmlformats.org/officeDocument/2006/relationships/image" Target="../media/image7.png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36" Type="http://schemas.openxmlformats.org/officeDocument/2006/relationships/notesSlide" Target="../notesSlides/notesSlide4.xml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31" Type="http://schemas.openxmlformats.org/officeDocument/2006/relationships/tags" Target="../tags/tag49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30" Type="http://schemas.openxmlformats.org/officeDocument/2006/relationships/tags" Target="../tags/tag48.xml"/><Relationship Id="rId35" Type="http://schemas.openxmlformats.org/officeDocument/2006/relationships/slideLayout" Target="../slideLayouts/slideLayout2.xml"/><Relationship Id="rId8" Type="http://schemas.openxmlformats.org/officeDocument/2006/relationships/tags" Target="../tags/tag26.xml"/><Relationship Id="rId3" Type="http://schemas.openxmlformats.org/officeDocument/2006/relationships/tags" Target="../tags/tag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Relationship Id="rId5" Type="http://schemas.openxmlformats.org/officeDocument/2006/relationships/image" Target="../media/image9.jpeg"/><Relationship Id="rId4" Type="http://schemas.openxmlformats.org/officeDocument/2006/relationships/image" Target="../media/image8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837426"/>
            <a:ext cx="9144000" cy="2961010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ЧЕТ</a:t>
            </a:r>
            <a:br>
              <a:rPr lang="ru-RU" sz="2800" b="1" dirty="0">
                <a:solidFill>
                  <a:schemeClr val="accent4">
                    <a:lumMod val="75000"/>
                  </a:schemeClr>
                </a:solidFill>
              </a:rPr>
            </a:br>
            <a:r>
              <a:rPr lang="ru-RU" sz="2800" b="1" i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оциально-воспитательной работе и реализации культурно-творческих проектов</a:t>
            </a:r>
            <a:br>
              <a:rPr lang="ru-RU" sz="2800" b="1" i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b="1" i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захского Национального медицинского университета имени С.Д. </a:t>
            </a:r>
            <a:r>
              <a:rPr lang="ru-RU" sz="2800" b="1" i="1" dirty="0" err="1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сфендиярова</a:t>
            </a:r>
            <a:r>
              <a:rPr lang="ru-RU" sz="2800" b="1" i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за  20</a:t>
            </a:r>
            <a:r>
              <a:rPr lang="en-US" sz="2800" b="1" i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ru-RU" sz="2800" b="1" i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20</a:t>
            </a:r>
            <a:r>
              <a:rPr lang="kk-KZ" sz="2800" b="1" i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2800" b="1" i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ru-RU" sz="2800" b="1" i="1" dirty="0">
                <a:solidFill>
                  <a:schemeClr val="accent4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учебный год</a:t>
            </a:r>
            <a:br>
              <a:rPr lang="ru-RU" sz="2800" b="1" i="1" dirty="0">
                <a:solidFill>
                  <a:schemeClr val="accent4">
                    <a:lumMod val="75000"/>
                  </a:schemeClr>
                </a:solidFill>
              </a:rPr>
            </a:br>
            <a:endParaRPr lang="ru-RU" sz="2800" b="1" i="1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7" name="Рисунок 6"/>
          <p:cNvPicPr/>
          <p:nvPr/>
        </p:nvPicPr>
        <p:blipFill>
          <a:blip r:embed="rId3"/>
          <a:srcRect r="73721"/>
          <a:stretch>
            <a:fillRect/>
          </a:stretch>
        </p:blipFill>
        <p:spPr bwMode="auto">
          <a:xfrm>
            <a:off x="5455451" y="617742"/>
            <a:ext cx="1281098" cy="1219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57537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35425" y="131210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ru-RU" sz="3600" b="1" i="1" dirty="0">
                <a:solidFill>
                  <a:schemeClr val="bg1"/>
                </a:solidFill>
              </a:rPr>
              <a:t> Создание системы обеспечения студентов </a:t>
            </a:r>
            <a:r>
              <a:rPr lang="kk-KZ" sz="3600" b="1" i="1" dirty="0">
                <a:solidFill>
                  <a:schemeClr val="bg1"/>
                </a:solidFill>
              </a:rPr>
              <a:t>психологической, </a:t>
            </a:r>
            <a:r>
              <a:rPr lang="ru-RU" sz="3600" b="1" i="1" dirty="0">
                <a:solidFill>
                  <a:schemeClr val="bg1"/>
                </a:solidFill>
              </a:rPr>
              <a:t>социальной поддержкой (2)</a:t>
            </a:r>
          </a:p>
        </p:txBody>
      </p:sp>
      <p:grpSp>
        <p:nvGrpSpPr>
          <p:cNvPr id="8" name="Clipboard2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05983" y="172487"/>
            <a:ext cx="1199112" cy="1199112"/>
            <a:chOff x="4098925" y="476250"/>
            <a:chExt cx="823913" cy="823913"/>
          </a:xfrm>
        </p:grpSpPr>
        <p:sp>
          <p:nvSpPr>
            <p:cNvPr id="9" name="Oval 81"/>
            <p:cNvSpPr>
              <a:spLocks noChangeArrowheads="1"/>
            </p:cNvSpPr>
            <p:nvPr/>
          </p:nvSpPr>
          <p:spPr bwMode="auto">
            <a:xfrm>
              <a:off x="4098925" y="476250"/>
              <a:ext cx="823913" cy="8239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326"/>
            <p:cNvSpPr>
              <a:spLocks/>
            </p:cNvSpPr>
            <p:nvPr/>
          </p:nvSpPr>
          <p:spPr bwMode="auto">
            <a:xfrm>
              <a:off x="4470400" y="736600"/>
              <a:ext cx="450850" cy="534988"/>
            </a:xfrm>
            <a:custGeom>
              <a:avLst/>
              <a:gdLst>
                <a:gd name="T0" fmla="*/ 452 w 1049"/>
                <a:gd name="T1" fmla="*/ 0 h 1246"/>
                <a:gd name="T2" fmla="*/ 0 w 1049"/>
                <a:gd name="T3" fmla="*/ 155 h 1246"/>
                <a:gd name="T4" fmla="*/ 20 w 1049"/>
                <a:gd name="T5" fmla="*/ 544 h 1246"/>
                <a:gd name="T6" fmla="*/ 51 w 1049"/>
                <a:gd name="T7" fmla="*/ 871 h 1246"/>
                <a:gd name="T8" fmla="*/ 475 w 1049"/>
                <a:gd name="T9" fmla="*/ 1246 h 1246"/>
                <a:gd name="T10" fmla="*/ 1049 w 1049"/>
                <a:gd name="T11" fmla="*/ 486 h 1246"/>
                <a:gd name="T12" fmla="*/ 452 w 1049"/>
                <a:gd name="T13" fmla="*/ 0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9" h="1246">
                  <a:moveTo>
                    <a:pt x="452" y="0"/>
                  </a:moveTo>
                  <a:lnTo>
                    <a:pt x="0" y="155"/>
                  </a:lnTo>
                  <a:lnTo>
                    <a:pt x="20" y="544"/>
                  </a:lnTo>
                  <a:lnTo>
                    <a:pt x="51" y="871"/>
                  </a:lnTo>
                  <a:lnTo>
                    <a:pt x="475" y="1246"/>
                  </a:lnTo>
                  <a:cubicBezTo>
                    <a:pt x="784" y="1142"/>
                    <a:pt x="1013" y="820"/>
                    <a:pt x="1049" y="486"/>
                  </a:cubicBezTo>
                  <a:lnTo>
                    <a:pt x="452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327"/>
            <p:cNvSpPr>
              <a:spLocks/>
            </p:cNvSpPr>
            <p:nvPr/>
          </p:nvSpPr>
          <p:spPr bwMode="auto">
            <a:xfrm>
              <a:off x="4313238" y="655638"/>
              <a:ext cx="382588" cy="498475"/>
            </a:xfrm>
            <a:custGeom>
              <a:avLst/>
              <a:gdLst>
                <a:gd name="T0" fmla="*/ 890 w 890"/>
                <a:gd name="T1" fmla="*/ 1124 h 1160"/>
                <a:gd name="T2" fmla="*/ 852 w 890"/>
                <a:gd name="T3" fmla="*/ 1160 h 1160"/>
                <a:gd name="T4" fmla="*/ 37 w 890"/>
                <a:gd name="T5" fmla="*/ 1160 h 1160"/>
                <a:gd name="T6" fmla="*/ 0 w 890"/>
                <a:gd name="T7" fmla="*/ 1124 h 1160"/>
                <a:gd name="T8" fmla="*/ 0 w 890"/>
                <a:gd name="T9" fmla="*/ 37 h 1160"/>
                <a:gd name="T10" fmla="*/ 37 w 890"/>
                <a:gd name="T11" fmla="*/ 0 h 1160"/>
                <a:gd name="T12" fmla="*/ 852 w 890"/>
                <a:gd name="T13" fmla="*/ 0 h 1160"/>
                <a:gd name="T14" fmla="*/ 890 w 890"/>
                <a:gd name="T15" fmla="*/ 37 h 1160"/>
                <a:gd name="T16" fmla="*/ 890 w 890"/>
                <a:gd name="T17" fmla="*/ 1124 h 1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0" h="1160">
                  <a:moveTo>
                    <a:pt x="890" y="1124"/>
                  </a:moveTo>
                  <a:cubicBezTo>
                    <a:pt x="890" y="1144"/>
                    <a:pt x="873" y="1160"/>
                    <a:pt x="852" y="1160"/>
                  </a:cubicBezTo>
                  <a:lnTo>
                    <a:pt x="37" y="1160"/>
                  </a:lnTo>
                  <a:cubicBezTo>
                    <a:pt x="16" y="1160"/>
                    <a:pt x="0" y="1144"/>
                    <a:pt x="0" y="1124"/>
                  </a:cubicBezTo>
                  <a:lnTo>
                    <a:pt x="0" y="37"/>
                  </a:lnTo>
                  <a:cubicBezTo>
                    <a:pt x="0" y="16"/>
                    <a:pt x="16" y="0"/>
                    <a:pt x="37" y="0"/>
                  </a:cubicBezTo>
                  <a:lnTo>
                    <a:pt x="852" y="0"/>
                  </a:lnTo>
                  <a:cubicBezTo>
                    <a:pt x="873" y="0"/>
                    <a:pt x="890" y="16"/>
                    <a:pt x="890" y="37"/>
                  </a:cubicBezTo>
                  <a:lnTo>
                    <a:pt x="890" y="1124"/>
                  </a:lnTo>
                  <a:close/>
                </a:path>
              </a:pathLst>
            </a:custGeom>
            <a:solidFill>
              <a:srgbClr val="2030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328"/>
            <p:cNvSpPr>
              <a:spLocks/>
            </p:cNvSpPr>
            <p:nvPr/>
          </p:nvSpPr>
          <p:spPr bwMode="auto">
            <a:xfrm>
              <a:off x="4337050" y="681038"/>
              <a:ext cx="334963" cy="444500"/>
            </a:xfrm>
            <a:custGeom>
              <a:avLst/>
              <a:gdLst>
                <a:gd name="T0" fmla="*/ 777 w 777"/>
                <a:gd name="T1" fmla="*/ 1026 h 1034"/>
                <a:gd name="T2" fmla="*/ 769 w 777"/>
                <a:gd name="T3" fmla="*/ 1034 h 1034"/>
                <a:gd name="T4" fmla="*/ 9 w 777"/>
                <a:gd name="T5" fmla="*/ 1034 h 1034"/>
                <a:gd name="T6" fmla="*/ 0 w 777"/>
                <a:gd name="T7" fmla="*/ 1026 h 1034"/>
                <a:gd name="T8" fmla="*/ 0 w 777"/>
                <a:gd name="T9" fmla="*/ 9 h 1034"/>
                <a:gd name="T10" fmla="*/ 9 w 777"/>
                <a:gd name="T11" fmla="*/ 0 h 1034"/>
                <a:gd name="T12" fmla="*/ 769 w 777"/>
                <a:gd name="T13" fmla="*/ 0 h 1034"/>
                <a:gd name="T14" fmla="*/ 777 w 777"/>
                <a:gd name="T15" fmla="*/ 9 h 1034"/>
                <a:gd name="T16" fmla="*/ 777 w 777"/>
                <a:gd name="T17" fmla="*/ 1026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7" h="1034">
                  <a:moveTo>
                    <a:pt x="777" y="1026"/>
                  </a:moveTo>
                  <a:cubicBezTo>
                    <a:pt x="777" y="1030"/>
                    <a:pt x="773" y="1034"/>
                    <a:pt x="769" y="1034"/>
                  </a:cubicBezTo>
                  <a:lnTo>
                    <a:pt x="9" y="1034"/>
                  </a:lnTo>
                  <a:cubicBezTo>
                    <a:pt x="4" y="1034"/>
                    <a:pt x="0" y="1030"/>
                    <a:pt x="0" y="1026"/>
                  </a:cubicBez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lnTo>
                    <a:pt x="769" y="0"/>
                  </a:lnTo>
                  <a:cubicBezTo>
                    <a:pt x="773" y="0"/>
                    <a:pt x="777" y="4"/>
                    <a:pt x="777" y="9"/>
                  </a:cubicBezTo>
                  <a:lnTo>
                    <a:pt x="777" y="10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329"/>
            <p:cNvSpPr>
              <a:spLocks noEditPoints="1"/>
            </p:cNvSpPr>
            <p:nvPr/>
          </p:nvSpPr>
          <p:spPr bwMode="auto">
            <a:xfrm>
              <a:off x="4435475" y="638175"/>
              <a:ext cx="147638" cy="73025"/>
            </a:xfrm>
            <a:custGeom>
              <a:avLst/>
              <a:gdLst>
                <a:gd name="T0" fmla="*/ 175 w 346"/>
                <a:gd name="T1" fmla="*/ 83 h 170"/>
                <a:gd name="T2" fmla="*/ 147 w 346"/>
                <a:gd name="T3" fmla="*/ 56 h 170"/>
                <a:gd name="T4" fmla="*/ 175 w 346"/>
                <a:gd name="T5" fmla="*/ 29 h 170"/>
                <a:gd name="T6" fmla="*/ 203 w 346"/>
                <a:gd name="T7" fmla="*/ 56 h 170"/>
                <a:gd name="T8" fmla="*/ 175 w 346"/>
                <a:gd name="T9" fmla="*/ 83 h 170"/>
                <a:gd name="T10" fmla="*/ 230 w 346"/>
                <a:gd name="T11" fmla="*/ 79 h 170"/>
                <a:gd name="T12" fmla="*/ 234 w 346"/>
                <a:gd name="T13" fmla="*/ 58 h 170"/>
                <a:gd name="T14" fmla="*/ 175 w 346"/>
                <a:gd name="T15" fmla="*/ 0 h 170"/>
                <a:gd name="T16" fmla="*/ 116 w 346"/>
                <a:gd name="T17" fmla="*/ 58 h 170"/>
                <a:gd name="T18" fmla="*/ 120 w 346"/>
                <a:gd name="T19" fmla="*/ 79 h 170"/>
                <a:gd name="T20" fmla="*/ 0 w 346"/>
                <a:gd name="T21" fmla="*/ 79 h 170"/>
                <a:gd name="T22" fmla="*/ 0 w 346"/>
                <a:gd name="T23" fmla="*/ 170 h 170"/>
                <a:gd name="T24" fmla="*/ 346 w 346"/>
                <a:gd name="T25" fmla="*/ 170 h 170"/>
                <a:gd name="T26" fmla="*/ 346 w 346"/>
                <a:gd name="T27" fmla="*/ 79 h 170"/>
                <a:gd name="T28" fmla="*/ 230 w 346"/>
                <a:gd name="T29" fmla="*/ 7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6" h="170">
                  <a:moveTo>
                    <a:pt x="175" y="83"/>
                  </a:moveTo>
                  <a:cubicBezTo>
                    <a:pt x="160" y="83"/>
                    <a:pt x="147" y="71"/>
                    <a:pt x="147" y="56"/>
                  </a:cubicBezTo>
                  <a:cubicBezTo>
                    <a:pt x="147" y="41"/>
                    <a:pt x="160" y="29"/>
                    <a:pt x="175" y="29"/>
                  </a:cubicBezTo>
                  <a:cubicBezTo>
                    <a:pt x="190" y="29"/>
                    <a:pt x="203" y="41"/>
                    <a:pt x="203" y="56"/>
                  </a:cubicBezTo>
                  <a:cubicBezTo>
                    <a:pt x="203" y="71"/>
                    <a:pt x="190" y="83"/>
                    <a:pt x="175" y="83"/>
                  </a:cubicBezTo>
                  <a:close/>
                  <a:moveTo>
                    <a:pt x="230" y="79"/>
                  </a:moveTo>
                  <a:cubicBezTo>
                    <a:pt x="232" y="72"/>
                    <a:pt x="234" y="65"/>
                    <a:pt x="234" y="58"/>
                  </a:cubicBezTo>
                  <a:cubicBezTo>
                    <a:pt x="234" y="26"/>
                    <a:pt x="207" y="0"/>
                    <a:pt x="175" y="0"/>
                  </a:cubicBezTo>
                  <a:cubicBezTo>
                    <a:pt x="142" y="0"/>
                    <a:pt x="116" y="26"/>
                    <a:pt x="116" y="58"/>
                  </a:cubicBezTo>
                  <a:cubicBezTo>
                    <a:pt x="116" y="65"/>
                    <a:pt x="117" y="72"/>
                    <a:pt x="120" y="79"/>
                  </a:cubicBezTo>
                  <a:lnTo>
                    <a:pt x="0" y="79"/>
                  </a:lnTo>
                  <a:lnTo>
                    <a:pt x="0" y="170"/>
                  </a:lnTo>
                  <a:lnTo>
                    <a:pt x="346" y="170"/>
                  </a:lnTo>
                  <a:lnTo>
                    <a:pt x="346" y="79"/>
                  </a:lnTo>
                  <a:lnTo>
                    <a:pt x="230" y="79"/>
                  </a:lnTo>
                  <a:close/>
                </a:path>
              </a:pathLst>
            </a:custGeom>
            <a:solidFill>
              <a:srgbClr val="58A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330"/>
            <p:cNvSpPr>
              <a:spLocks/>
            </p:cNvSpPr>
            <p:nvPr/>
          </p:nvSpPr>
          <p:spPr bwMode="auto">
            <a:xfrm>
              <a:off x="4378325" y="768350"/>
              <a:ext cx="46038" cy="36513"/>
            </a:xfrm>
            <a:custGeom>
              <a:avLst/>
              <a:gdLst>
                <a:gd name="T0" fmla="*/ 108 w 108"/>
                <a:gd name="T1" fmla="*/ 18 h 83"/>
                <a:gd name="T2" fmla="*/ 47 w 108"/>
                <a:gd name="T3" fmla="*/ 83 h 83"/>
                <a:gd name="T4" fmla="*/ 0 w 108"/>
                <a:gd name="T5" fmla="*/ 34 h 83"/>
                <a:gd name="T6" fmla="*/ 18 w 108"/>
                <a:gd name="T7" fmla="*/ 15 h 83"/>
                <a:gd name="T8" fmla="*/ 47 w 108"/>
                <a:gd name="T9" fmla="*/ 44 h 83"/>
                <a:gd name="T10" fmla="*/ 89 w 108"/>
                <a:gd name="T11" fmla="*/ 0 h 83"/>
                <a:gd name="T12" fmla="*/ 108 w 108"/>
                <a:gd name="T13" fmla="*/ 1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83">
                  <a:moveTo>
                    <a:pt x="108" y="18"/>
                  </a:moveTo>
                  <a:cubicBezTo>
                    <a:pt x="89" y="41"/>
                    <a:pt x="67" y="62"/>
                    <a:pt x="47" y="83"/>
                  </a:cubicBezTo>
                  <a:cubicBezTo>
                    <a:pt x="30" y="68"/>
                    <a:pt x="14" y="52"/>
                    <a:pt x="0" y="34"/>
                  </a:cubicBezTo>
                  <a:cubicBezTo>
                    <a:pt x="5" y="28"/>
                    <a:pt x="11" y="20"/>
                    <a:pt x="18" y="15"/>
                  </a:cubicBezTo>
                  <a:cubicBezTo>
                    <a:pt x="29" y="23"/>
                    <a:pt x="37" y="35"/>
                    <a:pt x="47" y="44"/>
                  </a:cubicBezTo>
                  <a:cubicBezTo>
                    <a:pt x="62" y="30"/>
                    <a:pt x="75" y="15"/>
                    <a:pt x="89" y="0"/>
                  </a:cubicBezTo>
                  <a:cubicBezTo>
                    <a:pt x="97" y="4"/>
                    <a:pt x="102" y="12"/>
                    <a:pt x="108" y="18"/>
                  </a:cubicBezTo>
                </a:path>
              </a:pathLst>
            </a:custGeom>
            <a:solidFill>
              <a:srgbClr val="F3C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Rectangle 331"/>
            <p:cNvSpPr>
              <a:spLocks noChangeArrowheads="1"/>
            </p:cNvSpPr>
            <p:nvPr/>
          </p:nvSpPr>
          <p:spPr bwMode="auto">
            <a:xfrm>
              <a:off x="4437063" y="784225"/>
              <a:ext cx="187325" cy="9525"/>
            </a:xfrm>
            <a:prstGeom prst="rect">
              <a:avLst/>
            </a:prstGeom>
            <a:solidFill>
              <a:srgbClr val="476A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332"/>
            <p:cNvSpPr>
              <a:spLocks/>
            </p:cNvSpPr>
            <p:nvPr/>
          </p:nvSpPr>
          <p:spPr bwMode="auto">
            <a:xfrm>
              <a:off x="4376738" y="839788"/>
              <a:ext cx="46038" cy="34925"/>
            </a:xfrm>
            <a:custGeom>
              <a:avLst/>
              <a:gdLst>
                <a:gd name="T0" fmla="*/ 108 w 108"/>
                <a:gd name="T1" fmla="*/ 18 h 83"/>
                <a:gd name="T2" fmla="*/ 47 w 108"/>
                <a:gd name="T3" fmla="*/ 83 h 83"/>
                <a:gd name="T4" fmla="*/ 0 w 108"/>
                <a:gd name="T5" fmla="*/ 34 h 83"/>
                <a:gd name="T6" fmla="*/ 18 w 108"/>
                <a:gd name="T7" fmla="*/ 14 h 83"/>
                <a:gd name="T8" fmla="*/ 48 w 108"/>
                <a:gd name="T9" fmla="*/ 43 h 83"/>
                <a:gd name="T10" fmla="*/ 90 w 108"/>
                <a:gd name="T11" fmla="*/ 0 h 83"/>
                <a:gd name="T12" fmla="*/ 108 w 108"/>
                <a:gd name="T13" fmla="*/ 1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83">
                  <a:moveTo>
                    <a:pt x="108" y="18"/>
                  </a:moveTo>
                  <a:cubicBezTo>
                    <a:pt x="89" y="41"/>
                    <a:pt x="68" y="62"/>
                    <a:pt x="47" y="83"/>
                  </a:cubicBezTo>
                  <a:cubicBezTo>
                    <a:pt x="31" y="68"/>
                    <a:pt x="15" y="52"/>
                    <a:pt x="0" y="34"/>
                  </a:cubicBezTo>
                  <a:cubicBezTo>
                    <a:pt x="6" y="27"/>
                    <a:pt x="12" y="20"/>
                    <a:pt x="18" y="14"/>
                  </a:cubicBezTo>
                  <a:cubicBezTo>
                    <a:pt x="30" y="22"/>
                    <a:pt x="38" y="34"/>
                    <a:pt x="48" y="43"/>
                  </a:cubicBezTo>
                  <a:cubicBezTo>
                    <a:pt x="62" y="29"/>
                    <a:pt x="76" y="15"/>
                    <a:pt x="90" y="0"/>
                  </a:cubicBezTo>
                  <a:cubicBezTo>
                    <a:pt x="98" y="4"/>
                    <a:pt x="102" y="12"/>
                    <a:pt x="108" y="18"/>
                  </a:cubicBezTo>
                </a:path>
              </a:pathLst>
            </a:custGeom>
            <a:solidFill>
              <a:srgbClr val="F3C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Rectangle 333"/>
            <p:cNvSpPr>
              <a:spLocks noChangeArrowheads="1"/>
            </p:cNvSpPr>
            <p:nvPr/>
          </p:nvSpPr>
          <p:spPr bwMode="auto">
            <a:xfrm>
              <a:off x="4435475" y="854075"/>
              <a:ext cx="188913" cy="9525"/>
            </a:xfrm>
            <a:prstGeom prst="rect">
              <a:avLst/>
            </a:prstGeom>
            <a:solidFill>
              <a:srgbClr val="476A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334"/>
            <p:cNvSpPr>
              <a:spLocks/>
            </p:cNvSpPr>
            <p:nvPr/>
          </p:nvSpPr>
          <p:spPr bwMode="auto">
            <a:xfrm>
              <a:off x="4378325" y="912813"/>
              <a:ext cx="47625" cy="34925"/>
            </a:xfrm>
            <a:custGeom>
              <a:avLst/>
              <a:gdLst>
                <a:gd name="T0" fmla="*/ 108 w 108"/>
                <a:gd name="T1" fmla="*/ 18 h 83"/>
                <a:gd name="T2" fmla="*/ 47 w 108"/>
                <a:gd name="T3" fmla="*/ 83 h 83"/>
                <a:gd name="T4" fmla="*/ 0 w 108"/>
                <a:gd name="T5" fmla="*/ 34 h 83"/>
                <a:gd name="T6" fmla="*/ 18 w 108"/>
                <a:gd name="T7" fmla="*/ 14 h 83"/>
                <a:gd name="T8" fmla="*/ 48 w 108"/>
                <a:gd name="T9" fmla="*/ 43 h 83"/>
                <a:gd name="T10" fmla="*/ 89 w 108"/>
                <a:gd name="T11" fmla="*/ 0 h 83"/>
                <a:gd name="T12" fmla="*/ 108 w 108"/>
                <a:gd name="T13" fmla="*/ 1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83">
                  <a:moveTo>
                    <a:pt x="108" y="18"/>
                  </a:moveTo>
                  <a:cubicBezTo>
                    <a:pt x="89" y="41"/>
                    <a:pt x="68" y="61"/>
                    <a:pt x="47" y="83"/>
                  </a:cubicBezTo>
                  <a:cubicBezTo>
                    <a:pt x="30" y="68"/>
                    <a:pt x="15" y="51"/>
                    <a:pt x="0" y="34"/>
                  </a:cubicBezTo>
                  <a:cubicBezTo>
                    <a:pt x="6" y="27"/>
                    <a:pt x="11" y="20"/>
                    <a:pt x="18" y="14"/>
                  </a:cubicBezTo>
                  <a:cubicBezTo>
                    <a:pt x="30" y="22"/>
                    <a:pt x="37" y="34"/>
                    <a:pt x="48" y="43"/>
                  </a:cubicBezTo>
                  <a:cubicBezTo>
                    <a:pt x="62" y="29"/>
                    <a:pt x="76" y="15"/>
                    <a:pt x="89" y="0"/>
                  </a:cubicBezTo>
                  <a:cubicBezTo>
                    <a:pt x="98" y="4"/>
                    <a:pt x="102" y="12"/>
                    <a:pt x="108" y="18"/>
                  </a:cubicBezTo>
                  <a:close/>
                </a:path>
              </a:pathLst>
            </a:custGeom>
            <a:solidFill>
              <a:srgbClr val="F3C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Rectangle 335"/>
            <p:cNvSpPr>
              <a:spLocks noChangeArrowheads="1"/>
            </p:cNvSpPr>
            <p:nvPr/>
          </p:nvSpPr>
          <p:spPr bwMode="auto">
            <a:xfrm>
              <a:off x="4438650" y="928688"/>
              <a:ext cx="187325" cy="7938"/>
            </a:xfrm>
            <a:prstGeom prst="rect">
              <a:avLst/>
            </a:prstGeom>
            <a:solidFill>
              <a:srgbClr val="476A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336"/>
            <p:cNvSpPr>
              <a:spLocks/>
            </p:cNvSpPr>
            <p:nvPr/>
          </p:nvSpPr>
          <p:spPr bwMode="auto">
            <a:xfrm>
              <a:off x="4379913" y="984250"/>
              <a:ext cx="46038" cy="36513"/>
            </a:xfrm>
            <a:custGeom>
              <a:avLst/>
              <a:gdLst>
                <a:gd name="T0" fmla="*/ 108 w 108"/>
                <a:gd name="T1" fmla="*/ 18 h 83"/>
                <a:gd name="T2" fmla="*/ 46 w 108"/>
                <a:gd name="T3" fmla="*/ 83 h 83"/>
                <a:gd name="T4" fmla="*/ 0 w 108"/>
                <a:gd name="T5" fmla="*/ 34 h 83"/>
                <a:gd name="T6" fmla="*/ 18 w 108"/>
                <a:gd name="T7" fmla="*/ 14 h 83"/>
                <a:gd name="T8" fmla="*/ 47 w 108"/>
                <a:gd name="T9" fmla="*/ 44 h 83"/>
                <a:gd name="T10" fmla="*/ 89 w 108"/>
                <a:gd name="T11" fmla="*/ 0 h 83"/>
                <a:gd name="T12" fmla="*/ 108 w 108"/>
                <a:gd name="T13" fmla="*/ 1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83">
                  <a:moveTo>
                    <a:pt x="108" y="18"/>
                  </a:moveTo>
                  <a:cubicBezTo>
                    <a:pt x="89" y="41"/>
                    <a:pt x="67" y="62"/>
                    <a:pt x="46" y="83"/>
                  </a:cubicBezTo>
                  <a:cubicBezTo>
                    <a:pt x="30" y="68"/>
                    <a:pt x="14" y="52"/>
                    <a:pt x="0" y="34"/>
                  </a:cubicBezTo>
                  <a:cubicBezTo>
                    <a:pt x="5" y="27"/>
                    <a:pt x="11" y="20"/>
                    <a:pt x="18" y="14"/>
                  </a:cubicBezTo>
                  <a:cubicBezTo>
                    <a:pt x="29" y="23"/>
                    <a:pt x="37" y="35"/>
                    <a:pt x="47" y="44"/>
                  </a:cubicBezTo>
                  <a:cubicBezTo>
                    <a:pt x="62" y="30"/>
                    <a:pt x="75" y="15"/>
                    <a:pt x="89" y="0"/>
                  </a:cubicBezTo>
                  <a:cubicBezTo>
                    <a:pt x="97" y="4"/>
                    <a:pt x="101" y="12"/>
                    <a:pt x="108" y="18"/>
                  </a:cubicBezTo>
                  <a:close/>
                </a:path>
              </a:pathLst>
            </a:custGeom>
            <a:solidFill>
              <a:srgbClr val="F3C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337"/>
            <p:cNvSpPr>
              <a:spLocks noChangeArrowheads="1"/>
            </p:cNvSpPr>
            <p:nvPr/>
          </p:nvSpPr>
          <p:spPr bwMode="auto">
            <a:xfrm>
              <a:off x="4438650" y="1000125"/>
              <a:ext cx="187325" cy="9525"/>
            </a:xfrm>
            <a:prstGeom prst="rect">
              <a:avLst/>
            </a:prstGeom>
            <a:solidFill>
              <a:srgbClr val="476A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15908582"/>
              </p:ext>
            </p:extLst>
          </p:nvPr>
        </p:nvGraphicFramePr>
        <p:xfrm>
          <a:off x="617892" y="1655063"/>
          <a:ext cx="10728134" cy="44938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813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88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98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4793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558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793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074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1074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2879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66636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64773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№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Виды соц.помощ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6369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5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2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25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3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35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50%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Итого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30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1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6369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кидка на обучение 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96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150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4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1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4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2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7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 264 чел.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30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2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Бесплатное питание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84 чел.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30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3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</a:rPr>
                        <a:t>Бесплатное проживание 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 21 чел.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529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4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Компенсация на обеспечение одеждой, обувью  студентов – сирот.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 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6 чел. (1 курс)</a:t>
                      </a:r>
                      <a:endParaRPr lang="ru-RU" sz="16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386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Итого: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375 чел.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-3731369" y="67215"/>
            <a:ext cx="2009427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k-KZ" altLang="ru-RU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   Итоговая  таблица </a:t>
            </a:r>
            <a:endParaRPr kumimoji="0" lang="kk-KZ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85204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5" name="Title 54"/>
          <p:cNvSpPr>
            <a:spLocks noGrp="1"/>
          </p:cNvSpPr>
          <p:nvPr>
            <p:ph type="title"/>
          </p:nvPr>
        </p:nvSpPr>
        <p:spPr>
          <a:xfrm>
            <a:off x="1481747" y="171838"/>
            <a:ext cx="10999839" cy="1325563"/>
          </a:xfrm>
        </p:spPr>
        <p:txBody>
          <a:bodyPr>
            <a:normAutofit/>
          </a:bodyPr>
          <a:lstStyle/>
          <a:p>
            <a:pPr algn="ctr"/>
            <a:r>
              <a:rPr lang="ru-RU" b="1" i="1" dirty="0">
                <a:solidFill>
                  <a:schemeClr val="bg1"/>
                </a:solidFill>
              </a:rPr>
              <a:t> Культурно-массовые мероприятия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3" name="Group 2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4191000" y="2429400"/>
            <a:ext cx="3810000" cy="3810000"/>
            <a:chOff x="4191000" y="1524000"/>
            <a:chExt cx="3810000" cy="3810000"/>
          </a:xfrm>
        </p:grpSpPr>
        <p:sp>
          <p:nvSpPr>
            <p:cNvPr id="4" name="Block Arc 3"/>
            <p:cNvSpPr/>
            <p:nvPr>
              <p:custDataLst>
                <p:tags r:id="rId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16500"/>
              </a:avLst>
            </a:prstGeom>
            <a:solidFill>
              <a:schemeClr val="accent3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Block Arc 4"/>
            <p:cNvSpPr/>
            <p:nvPr>
              <p:custDataLst>
                <p:tags r:id="rId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16500"/>
              </a:avLst>
            </a:prstGeom>
            <a:solidFill>
              <a:schemeClr val="accent4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Block Arc 5"/>
            <p:cNvSpPr/>
            <p:nvPr>
              <p:custDataLst>
                <p:tags r:id="rId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16500"/>
              </a:avLst>
            </a:prstGeom>
            <a:solidFill>
              <a:srgbClr val="9A8CB0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Block Arc 6"/>
            <p:cNvSpPr/>
            <p:nvPr>
              <p:custDataLst>
                <p:tags r:id="rId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16500"/>
              </a:avLst>
            </a:prstGeom>
            <a:solidFill>
              <a:srgbClr val="76369A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Block Arc 7" hidden="1"/>
            <p:cNvSpPr/>
            <p:nvPr>
              <p:custDataLst>
                <p:tags r:id="rId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9" name="Block Arc 8" hidden="1"/>
            <p:cNvSpPr/>
            <p:nvPr>
              <p:custDataLst>
                <p:tags r:id="rId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0" name="Block Arc 9" hidden="1"/>
            <p:cNvSpPr/>
            <p:nvPr>
              <p:custDataLst>
                <p:tags r:id="rId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1" name="Block Arc 10" hidden="1"/>
            <p:cNvSpPr/>
            <p:nvPr>
              <p:custDataLst>
                <p:tags r:id="rId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2" name="Block Arc 11" hidden="1"/>
            <p:cNvSpPr/>
            <p:nvPr>
              <p:custDataLst>
                <p:tags r:id="rId1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3" name="Block Arc 12" hidden="1"/>
            <p:cNvSpPr/>
            <p:nvPr>
              <p:custDataLst>
                <p:tags r:id="rId1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4" name="Block Arc 13" hidden="1"/>
            <p:cNvSpPr/>
            <p:nvPr>
              <p:custDataLst>
                <p:tags r:id="rId1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5" name="Block Arc 14" hidden="1"/>
            <p:cNvSpPr/>
            <p:nvPr>
              <p:custDataLst>
                <p:tags r:id="rId1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6" name="Block Arc 15" hidden="1"/>
            <p:cNvSpPr/>
            <p:nvPr>
              <p:custDataLst>
                <p:tags r:id="rId1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7" name="Block Arc 16" hidden="1"/>
            <p:cNvSpPr/>
            <p:nvPr>
              <p:custDataLst>
                <p:tags r:id="rId1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8" name="Block Arc 17" hidden="1"/>
            <p:cNvSpPr/>
            <p:nvPr>
              <p:custDataLst>
                <p:tags r:id="rId1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19" name="Block Arc 18" hidden="1"/>
            <p:cNvSpPr/>
            <p:nvPr>
              <p:custDataLst>
                <p:tags r:id="rId1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20" name="Block Arc 19" hidden="1"/>
            <p:cNvSpPr/>
            <p:nvPr>
              <p:custDataLst>
                <p:tags r:id="rId1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21" name="Block Arc 20" hidden="1"/>
            <p:cNvSpPr/>
            <p:nvPr>
              <p:custDataLst>
                <p:tags r:id="rId1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22" name="Block Arc 21" hidden="1"/>
            <p:cNvSpPr/>
            <p:nvPr>
              <p:custDataLst>
                <p:tags r:id="rId2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23" name="Block Arc 22" hidden="1"/>
            <p:cNvSpPr/>
            <p:nvPr>
              <p:custDataLst>
                <p:tags r:id="rId2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24" name="Block Arc 23" hidden="1"/>
            <p:cNvSpPr/>
            <p:nvPr>
              <p:custDataLst>
                <p:tags r:id="rId2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25" name="Block Arc 24" hidden="1"/>
            <p:cNvSpPr/>
            <p:nvPr>
              <p:custDataLst>
                <p:tags r:id="rId2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26" name="Block Arc 25" hidden="1"/>
            <p:cNvSpPr/>
            <p:nvPr>
              <p:custDataLst>
                <p:tags r:id="rId2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27" name="Block Arc 26" hidden="1"/>
            <p:cNvSpPr/>
            <p:nvPr>
              <p:custDataLst>
                <p:tags r:id="rId2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28" name="Block Arc 27" hidden="1"/>
            <p:cNvSpPr/>
            <p:nvPr>
              <p:custDataLst>
                <p:tags r:id="rId2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29" name="Block Arc 28" hidden="1"/>
            <p:cNvSpPr/>
            <p:nvPr>
              <p:custDataLst>
                <p:tags r:id="rId2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30" name="Block Arc 29" hidden="1"/>
            <p:cNvSpPr/>
            <p:nvPr>
              <p:custDataLst>
                <p:tags r:id="rId2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31" name="Block Arc 30" hidden="1"/>
            <p:cNvSpPr/>
            <p:nvPr>
              <p:custDataLst>
                <p:tags r:id="rId2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32" name="Block Arc 31" hidden="1"/>
            <p:cNvSpPr/>
            <p:nvPr>
              <p:custDataLst>
                <p:tags r:id="rId3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33" name="Block Arc 32" hidden="1"/>
            <p:cNvSpPr/>
            <p:nvPr>
              <p:custDataLst>
                <p:tags r:id="rId3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34" name="Block Arc 33" hidden="1"/>
            <p:cNvSpPr/>
            <p:nvPr>
              <p:custDataLst>
                <p:tags r:id="rId3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35" name="Block Arc 34" hidden="1"/>
            <p:cNvSpPr/>
            <p:nvPr>
              <p:custDataLst>
                <p:tags r:id="rId3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36" name="Block Arc 35" hidden="1"/>
            <p:cNvSpPr/>
            <p:nvPr>
              <p:custDataLst>
                <p:tags r:id="rId3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37" name="Block Arc 36" hidden="1"/>
            <p:cNvSpPr/>
            <p:nvPr>
              <p:custDataLst>
                <p:tags r:id="rId3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38" name="Block Arc 37" hidden="1"/>
            <p:cNvSpPr/>
            <p:nvPr>
              <p:custDataLst>
                <p:tags r:id="rId3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39" name="Block Arc 38" hidden="1"/>
            <p:cNvSpPr/>
            <p:nvPr>
              <p:custDataLst>
                <p:tags r:id="rId3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0" name="Block Arc 39" hidden="1"/>
            <p:cNvSpPr/>
            <p:nvPr>
              <p:custDataLst>
                <p:tags r:id="rId3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1" name="Block Arc 40" hidden="1"/>
            <p:cNvSpPr/>
            <p:nvPr>
              <p:custDataLst>
                <p:tags r:id="rId3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2" name="Block Arc 41" hidden="1"/>
            <p:cNvSpPr/>
            <p:nvPr>
              <p:custDataLst>
                <p:tags r:id="rId4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3" name="Block Arc 42" hidden="1"/>
            <p:cNvSpPr/>
            <p:nvPr>
              <p:custDataLst>
                <p:tags r:id="rId4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4" name="Block Arc 43" hidden="1"/>
            <p:cNvSpPr/>
            <p:nvPr>
              <p:custDataLst>
                <p:tags r:id="rId42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5" name="Block Arc 44" hidden="1"/>
            <p:cNvSpPr/>
            <p:nvPr>
              <p:custDataLst>
                <p:tags r:id="rId43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6" name="Block Arc 45" hidden="1"/>
            <p:cNvSpPr/>
            <p:nvPr>
              <p:custDataLst>
                <p:tags r:id="rId44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7" name="Block Arc 46" hidden="1"/>
            <p:cNvSpPr/>
            <p:nvPr>
              <p:custDataLst>
                <p:tags r:id="rId45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8" name="Block Arc 47" hidden="1"/>
            <p:cNvSpPr/>
            <p:nvPr>
              <p:custDataLst>
                <p:tags r:id="rId46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49" name="Block Arc 48" hidden="1"/>
            <p:cNvSpPr/>
            <p:nvPr>
              <p:custDataLst>
                <p:tags r:id="rId47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50" name="Block Arc 49" hidden="1"/>
            <p:cNvSpPr/>
            <p:nvPr>
              <p:custDataLst>
                <p:tags r:id="rId48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0800000"/>
                <a:gd name="adj2" fmla="val 162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51" name="Block Arc 50" hidden="1"/>
            <p:cNvSpPr/>
            <p:nvPr>
              <p:custDataLst>
                <p:tags r:id="rId49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16200000"/>
                <a:gd name="adj2" fmla="val 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52" name="Block Arc 51" hidden="1"/>
            <p:cNvSpPr/>
            <p:nvPr>
              <p:custDataLst>
                <p:tags r:id="rId50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0"/>
                <a:gd name="adj2" fmla="val 54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53" name="Block Arc 52" hidden="1"/>
            <p:cNvSpPr/>
            <p:nvPr>
              <p:custDataLst>
                <p:tags r:id="rId51"/>
              </p:custDataLst>
            </p:nvPr>
          </p:nvSpPr>
          <p:spPr>
            <a:xfrm>
              <a:off x="4191000" y="1524000"/>
              <a:ext cx="3810000" cy="3810000"/>
            </a:xfrm>
            <a:prstGeom prst="blockArc">
              <a:avLst>
                <a:gd name="adj1" fmla="val 5400000"/>
                <a:gd name="adj2" fmla="val 10800000"/>
                <a:gd name="adj3" fmla="val 25000"/>
              </a:avLst>
            </a:prstGeom>
            <a:solidFill>
              <a:srgbClr val="0F6FC6"/>
            </a:solidFill>
            <a:ln w="25400">
              <a:solidFill>
                <a:srgbClr val="FFFFFF"/>
              </a:solidFill>
              <a:prstDash val="solid"/>
            </a:ln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54" name="Rectangle 53"/>
            <p:cNvSpPr/>
            <p:nvPr>
              <p:custDataLst>
                <p:tags r:id="rId52"/>
              </p:custDataLst>
            </p:nvPr>
          </p:nvSpPr>
          <p:spPr>
            <a:xfrm>
              <a:off x="5055857" y="3020295"/>
              <a:ext cx="2165085" cy="54447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400" b="1" dirty="0">
                  <a:solidFill>
                    <a:srgbClr val="FFFF00"/>
                  </a:solidFill>
                  <a:effectLst>
                    <a:glow>
                      <a:scrgbClr r="0" g="0" b="0"/>
                    </a:glow>
                  </a:effectLst>
                  <a:latin typeface="Calibri"/>
                </a:rPr>
                <a:t>Более</a:t>
              </a:r>
              <a:r>
                <a:rPr lang="ru-RU" sz="3600" b="1" dirty="0">
                  <a:solidFill>
                    <a:prstClr val="black"/>
                  </a:solidFill>
                  <a:effectLst>
                    <a:glow>
                      <a:scrgbClr r="0" g="0" b="0"/>
                    </a:glow>
                  </a:effectLst>
                  <a:latin typeface="Calibri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4800" b="1" dirty="0">
                  <a:solidFill>
                    <a:srgbClr val="FFFF00"/>
                  </a:solidFill>
                  <a:effectLst>
                    <a:glow>
                      <a:scrgbClr r="0" g="0" b="0"/>
                    </a:glow>
                  </a:effectLst>
                  <a:latin typeface="Calibri"/>
                </a:rPr>
                <a:t>90</a:t>
              </a:r>
              <a:r>
                <a:rPr lang="ru-RU" sz="3600" b="1" dirty="0">
                  <a:solidFill>
                    <a:prstClr val="black"/>
                  </a:solidFill>
                  <a:effectLst>
                    <a:glow>
                      <a:scrgbClr r="0" g="0" b="0"/>
                    </a:glow>
                  </a:effectLst>
                  <a:latin typeface="Calibri"/>
                </a:rPr>
                <a:t>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>
                    <a:glow>
                      <a:scrgbClr r="0" g="0" b="0"/>
                    </a:glow>
                  </a:effectLst>
                  <a:uLnTx/>
                  <a:uFillTx/>
                  <a:latin typeface="Calibri"/>
                </a:rPr>
                <a:t>мероприятий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glow>
                    <a:scrgbClr r="0" g="0" b="0"/>
                  </a:glow>
                </a:effectLst>
                <a:uLnTx/>
                <a:uFillTx/>
                <a:latin typeface="Calibri"/>
              </a:endParaRPr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1288734" y="1713037"/>
            <a:ext cx="3606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2DA2BF"/>
                </a:solidFill>
                <a:latin typeface="Calibri"/>
              </a:rPr>
              <a:t>БОЛЕЕ 40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МЕРОПРИЯТИЙ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DA2B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63817" y="4645872"/>
            <a:ext cx="318067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kk-KZ" b="1" dirty="0">
                <a:solidFill>
                  <a:schemeClr val="bg1"/>
                </a:solidFill>
              </a:rPr>
              <a:t>Мероприятия, посвященные национальному и  государственным праздникам</a:t>
            </a:r>
            <a:endParaRPr lang="ru-RU" b="1" dirty="0">
              <a:solidFill>
                <a:schemeClr val="bg1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7976190" y="1757586"/>
            <a:ext cx="360621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2DA2BF"/>
                </a:solidFill>
                <a:latin typeface="Calibri"/>
              </a:rPr>
              <a:t>БОЛЕЕ 7 МЕРОПРИЯТИЙ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DA2B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lvl="0">
              <a:defRPr/>
            </a:pPr>
            <a:r>
              <a:rPr lang="kk-KZ" b="1" dirty="0">
                <a:solidFill>
                  <a:schemeClr val="bg1"/>
                </a:solidFill>
              </a:rPr>
              <a:t>По укреплению межнациональной дружбы и толерантности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</a:rPr>
              <a:t>.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8288208" y="4306126"/>
            <a:ext cx="3294192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ru-RU" sz="2000" b="1" dirty="0">
                <a:solidFill>
                  <a:srgbClr val="2DA2BF"/>
                </a:solidFill>
                <a:latin typeface="Calibri"/>
              </a:rPr>
              <a:t>БОЛЕЕ 10 ВСТРЕЧ</a:t>
            </a:r>
          </a:p>
          <a:p>
            <a:pPr>
              <a:defRPr/>
            </a:pPr>
            <a:r>
              <a:rPr lang="kk-KZ" b="1" dirty="0">
                <a:solidFill>
                  <a:schemeClr val="bg1"/>
                </a:solidFill>
              </a:rPr>
              <a:t>с заслуженными деятелями медицины и других сфер</a:t>
            </a:r>
            <a:endParaRPr lang="ru-RU" dirty="0">
              <a:solidFill>
                <a:schemeClr val="bg1"/>
              </a:solidFill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DA2B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2" name="Elbow Connector 61"/>
          <p:cNvCxnSpPr/>
          <p:nvPr/>
        </p:nvCxnSpPr>
        <p:spPr>
          <a:xfrm rot="10800000">
            <a:off x="693019" y="2097988"/>
            <a:ext cx="4035468" cy="948714"/>
          </a:xfrm>
          <a:prstGeom prst="bentConnector3">
            <a:avLst>
              <a:gd name="adj1" fmla="val 11837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Elbow Connector 73"/>
          <p:cNvCxnSpPr/>
          <p:nvPr/>
        </p:nvCxnSpPr>
        <p:spPr>
          <a:xfrm rot="10800000">
            <a:off x="693019" y="4665604"/>
            <a:ext cx="4035468" cy="948714"/>
          </a:xfrm>
          <a:prstGeom prst="bentConnector3">
            <a:avLst>
              <a:gd name="adj1" fmla="val 21139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Elbow Connector 75"/>
          <p:cNvCxnSpPr/>
          <p:nvPr/>
        </p:nvCxnSpPr>
        <p:spPr>
          <a:xfrm rot="10800000" flipH="1">
            <a:off x="7438702" y="2096388"/>
            <a:ext cx="4035468" cy="948714"/>
          </a:xfrm>
          <a:prstGeom prst="bentConnector3">
            <a:avLst>
              <a:gd name="adj1" fmla="val 11837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Elbow Connector 76"/>
          <p:cNvCxnSpPr/>
          <p:nvPr/>
        </p:nvCxnSpPr>
        <p:spPr>
          <a:xfrm rot="10800000" flipH="1">
            <a:off x="7438702" y="4664004"/>
            <a:ext cx="4035468" cy="948714"/>
          </a:xfrm>
          <a:prstGeom prst="bentConnector3">
            <a:avLst>
              <a:gd name="adj1" fmla="val 21139"/>
            </a:avLst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 rot="19029519">
            <a:off x="4292296" y="3082839"/>
            <a:ext cx="15052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kk-KZ" sz="1200" b="1" i="1" dirty="0">
                <a:solidFill>
                  <a:schemeClr val="bg1"/>
                </a:solidFill>
              </a:rPr>
              <a:t>«Рухани жаңғыру» 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79" name="TextBox 78"/>
          <p:cNvSpPr txBox="1"/>
          <p:nvPr/>
        </p:nvSpPr>
        <p:spPr>
          <a:xfrm rot="14400000" flipV="1">
            <a:off x="6542761" y="3144881"/>
            <a:ext cx="15130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жнациональное</a:t>
            </a:r>
            <a:r>
              <a:rPr kumimoji="0" lang="ru-RU" sz="12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lvl="0" algn="ctr">
              <a:defRPr/>
            </a:pPr>
            <a:r>
              <a:rPr kumimoji="0" lang="ru-RU" sz="12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огласие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TextBox 79"/>
          <p:cNvSpPr txBox="1"/>
          <p:nvPr/>
        </p:nvSpPr>
        <p:spPr>
          <a:xfrm rot="2772037">
            <a:off x="4267128" y="5203994"/>
            <a:ext cx="142391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i="1" dirty="0">
                <a:solidFill>
                  <a:prstClr val="white"/>
                </a:solidFill>
                <a:latin typeface="Calibri"/>
              </a:rPr>
              <a:t>Государственны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праздники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81" name="TextBox 80"/>
          <p:cNvSpPr txBox="1"/>
          <p:nvPr/>
        </p:nvSpPr>
        <p:spPr>
          <a:xfrm rot="8306835" flipV="1">
            <a:off x="6272897" y="5141619"/>
            <a:ext cx="18562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отивационные встречи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123444" y="2138673"/>
            <a:ext cx="414790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kk-KZ" sz="1400" b="1" dirty="0">
                <a:solidFill>
                  <a:schemeClr val="bg1"/>
                </a:solidFill>
              </a:rPr>
              <a:t>«90 добрых дел» в рамках 90-летия университета, </a:t>
            </a:r>
            <a:r>
              <a:rPr lang="ru-RU" sz="1400" b="1" dirty="0">
                <a:solidFill>
                  <a:schemeClr val="bg1"/>
                </a:solidFill>
              </a:rPr>
              <a:t>155 –лети</a:t>
            </a:r>
            <a:r>
              <a:rPr lang="kk-KZ" sz="1400" b="1" dirty="0">
                <a:solidFill>
                  <a:schemeClr val="bg1"/>
                </a:solidFill>
              </a:rPr>
              <a:t>я</a:t>
            </a:r>
            <a:r>
              <a:rPr lang="ru-RU" sz="1400" b="1" dirty="0">
                <a:solidFill>
                  <a:schemeClr val="bg1"/>
                </a:solidFill>
              </a:rPr>
              <a:t> со дня рождения общественного деятеля, педагога </a:t>
            </a:r>
            <a:r>
              <a:rPr lang="kk-KZ" sz="1400" b="1" dirty="0">
                <a:solidFill>
                  <a:schemeClr val="bg1"/>
                </a:solidFill>
              </a:rPr>
              <a:t>А</a:t>
            </a:r>
            <a:r>
              <a:rPr lang="ru-RU" sz="1400" b="1" dirty="0" err="1">
                <a:solidFill>
                  <a:schemeClr val="bg1"/>
                </a:solidFill>
              </a:rPr>
              <a:t>лихана</a:t>
            </a:r>
            <a:r>
              <a:rPr lang="ru-RU" sz="1400" b="1" dirty="0">
                <a:solidFill>
                  <a:schemeClr val="bg1"/>
                </a:solidFill>
              </a:rPr>
              <a:t> </a:t>
            </a:r>
            <a:r>
              <a:rPr lang="kk-KZ" sz="1400" b="1" dirty="0">
                <a:solidFill>
                  <a:schemeClr val="bg1"/>
                </a:solidFill>
              </a:rPr>
              <a:t>Б</a:t>
            </a:r>
            <a:r>
              <a:rPr lang="ru-RU" sz="1400" b="1" dirty="0" err="1">
                <a:solidFill>
                  <a:schemeClr val="bg1"/>
                </a:solidFill>
              </a:rPr>
              <a:t>укейханова</a:t>
            </a:r>
            <a:r>
              <a:rPr lang="ru-RU" sz="1400" b="1" dirty="0">
                <a:solidFill>
                  <a:schemeClr val="bg1"/>
                </a:solidFill>
              </a:rPr>
              <a:t>, </a:t>
            </a:r>
          </a:p>
          <a:p>
            <a:pPr algn="r"/>
            <a:r>
              <a:rPr lang="ru-RU" sz="1400" b="1" dirty="0">
                <a:solidFill>
                  <a:schemeClr val="bg1"/>
                </a:solidFill>
              </a:rPr>
              <a:t>90-летия </a:t>
            </a:r>
            <a:r>
              <a:rPr lang="kk-KZ" sz="1400" b="1" dirty="0">
                <a:solidFill>
                  <a:schemeClr val="bg1"/>
                </a:solidFill>
              </a:rPr>
              <a:t>поэта М</a:t>
            </a:r>
            <a:r>
              <a:rPr lang="ru-RU" sz="1400" b="1" dirty="0" err="1">
                <a:solidFill>
                  <a:schemeClr val="bg1"/>
                </a:solidFill>
              </a:rPr>
              <a:t>укагали</a:t>
            </a:r>
            <a:r>
              <a:rPr lang="ru-RU" sz="1400" b="1" dirty="0">
                <a:solidFill>
                  <a:schemeClr val="bg1"/>
                </a:solidFill>
              </a:rPr>
              <a:t> </a:t>
            </a:r>
            <a:r>
              <a:rPr lang="kk-KZ" sz="1400" b="1" dirty="0">
                <a:solidFill>
                  <a:schemeClr val="bg1"/>
                </a:solidFill>
              </a:rPr>
              <a:t>М</a:t>
            </a:r>
            <a:r>
              <a:rPr lang="ru-RU" sz="1400" b="1" dirty="0" err="1">
                <a:solidFill>
                  <a:schemeClr val="bg1"/>
                </a:solidFill>
              </a:rPr>
              <a:t>акатаева</a:t>
            </a:r>
            <a:r>
              <a:rPr lang="kk-KZ" sz="1400" b="1" dirty="0">
                <a:solidFill>
                  <a:schemeClr val="bg1"/>
                </a:solidFill>
              </a:rPr>
              <a:t>,</a:t>
            </a:r>
            <a:r>
              <a:rPr lang="ru-RU" sz="1400" b="1" dirty="0">
                <a:solidFill>
                  <a:schemeClr val="bg1"/>
                </a:solidFill>
              </a:rPr>
              <a:t> </a:t>
            </a:r>
          </a:p>
          <a:p>
            <a:pPr algn="r"/>
            <a:r>
              <a:rPr lang="ru-RU" sz="1400" b="1" dirty="0">
                <a:solidFill>
                  <a:schemeClr val="bg1"/>
                </a:solidFill>
              </a:rPr>
              <a:t>80-летнего юбилея великого учителя </a:t>
            </a:r>
            <a:r>
              <a:rPr lang="ru-RU" sz="1400" b="1" dirty="0" err="1">
                <a:solidFill>
                  <a:schemeClr val="bg1"/>
                </a:solidFill>
              </a:rPr>
              <a:t>Ибрая</a:t>
            </a:r>
            <a:r>
              <a:rPr lang="ru-RU" sz="1400" b="1" dirty="0">
                <a:solidFill>
                  <a:schemeClr val="bg1"/>
                </a:solidFill>
              </a:rPr>
              <a:t>  </a:t>
            </a:r>
            <a:r>
              <a:rPr lang="ru-RU" sz="1400" b="1" dirty="0" err="1">
                <a:solidFill>
                  <a:schemeClr val="bg1"/>
                </a:solidFill>
              </a:rPr>
              <a:t>Алтынсарина</a:t>
            </a:r>
            <a:r>
              <a:rPr lang="kk-KZ" sz="1400" b="1" dirty="0">
                <a:solidFill>
                  <a:schemeClr val="bg1"/>
                </a:solidFill>
              </a:rPr>
              <a:t> и </a:t>
            </a:r>
          </a:p>
          <a:p>
            <a:pPr algn="r"/>
            <a:r>
              <a:rPr lang="kk-KZ" sz="1400" b="1" dirty="0">
                <a:solidFill>
                  <a:schemeClr val="bg1"/>
                </a:solidFill>
              </a:rPr>
              <a:t>30-летию Независимости Республики Казахстана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953403" y="4283096"/>
            <a:ext cx="3606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2DA2BF"/>
                </a:solidFill>
                <a:latin typeface="Calibri"/>
              </a:rPr>
              <a:t>БОЛЕЕ 7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МЕРОПРИЯТИЙ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2DA2B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28570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61862">
            <a:alpha val="95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36371" y="969265"/>
            <a:ext cx="10636758" cy="1509474"/>
          </a:xfrm>
        </p:spPr>
        <p:txBody>
          <a:bodyPr>
            <a:noAutofit/>
          </a:bodyPr>
          <a:lstStyle/>
          <a:p>
            <a:pPr algn="just"/>
            <a:r>
              <a:rPr lang="kk-KZ" sz="3200" b="1" dirty="0">
                <a:solidFill>
                  <a:schemeClr val="bg1"/>
                </a:solidFill>
              </a:rPr>
              <a:t>    В рамках реализации программы </a:t>
            </a:r>
            <a:r>
              <a:rPr lang="kk-KZ" sz="3200" b="1" i="1" dirty="0">
                <a:solidFill>
                  <a:schemeClr val="bg1"/>
                </a:solidFill>
              </a:rPr>
              <a:t>«Рухани Жаңғыру» </a:t>
            </a:r>
            <a:r>
              <a:rPr lang="kk-KZ" sz="3200" b="1" dirty="0">
                <a:solidFill>
                  <a:schemeClr val="bg1"/>
                </a:solidFill>
              </a:rPr>
              <a:t>организованы более </a:t>
            </a:r>
            <a:r>
              <a:rPr lang="kk-KZ" sz="3200" b="1" dirty="0">
                <a:solidFill>
                  <a:srgbClr val="FFFF00"/>
                </a:solidFill>
              </a:rPr>
              <a:t>40 </a:t>
            </a:r>
            <a:r>
              <a:rPr lang="kk-KZ" sz="3200" b="1" dirty="0">
                <a:solidFill>
                  <a:schemeClr val="bg1"/>
                </a:solidFill>
              </a:rPr>
              <a:t>творческих, литературно-поэтических и интеллектуальных   мероприятий об истории, личностях и культуре Казахстана. </a:t>
            </a:r>
            <a:endParaRPr lang="ru-RU" sz="3200" b="1" dirty="0">
              <a:solidFill>
                <a:schemeClr val="bg1"/>
              </a:solidFill>
            </a:endParaRPr>
          </a:p>
        </p:txBody>
      </p:sp>
      <p:pic>
        <p:nvPicPr>
          <p:cNvPr id="5" name="Рисунок 4" descr="%D0%BE%D0%B1%D1%88-%D1%84%D0%BE%D1%82%D0%BE-520x24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12" y="2962657"/>
            <a:ext cx="5313172" cy="352958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7" name="Рисунок 6" descr="IMG-20201027-WA0007 (1)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4750" y="2962657"/>
            <a:ext cx="5617464" cy="352958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0784332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0180" y="507365"/>
            <a:ext cx="1185164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kk-KZ" sz="3100" b="1" dirty="0">
                <a:solidFill>
                  <a:schemeClr val="bg1"/>
                </a:solidFill>
              </a:rPr>
              <a:t>Мероприятия, посвященные национальному и  государственным праздникам</a:t>
            </a:r>
            <a:br>
              <a:rPr lang="ru-RU" dirty="0"/>
            </a:b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475" y="1817688"/>
            <a:ext cx="5765800" cy="419838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7602" y="1832928"/>
            <a:ext cx="5767070" cy="418314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280719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Рисунок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272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00875" y="414240"/>
            <a:ext cx="11476703" cy="1325563"/>
          </a:xfrm>
        </p:spPr>
        <p:txBody>
          <a:bodyPr>
            <a:normAutofit fontScale="90000"/>
          </a:bodyPr>
          <a:lstStyle/>
          <a:p>
            <a:pPr lvl="0" algn="ctr">
              <a:defRPr/>
            </a:pPr>
            <a:r>
              <a:rPr lang="ru-RU" b="1" i="1" kern="0" dirty="0">
                <a:solidFill>
                  <a:schemeClr val="bg1"/>
                </a:solidFill>
              </a:rPr>
              <a:t>Развитие здорового образа жизни и </a:t>
            </a:r>
            <a:br>
              <a:rPr lang="ru-RU" b="1" i="1" kern="0" dirty="0">
                <a:solidFill>
                  <a:schemeClr val="bg1"/>
                </a:solidFill>
              </a:rPr>
            </a:br>
            <a:r>
              <a:rPr lang="ru-RU" b="1" i="1" kern="0" dirty="0">
                <a:solidFill>
                  <a:schemeClr val="bg1"/>
                </a:solidFill>
              </a:rPr>
              <a:t>массового спорта </a:t>
            </a:r>
            <a:br>
              <a:rPr lang="en-US" b="1" i="1" kern="0" dirty="0">
                <a:solidFill>
                  <a:srgbClr val="76369A"/>
                </a:solidFill>
                <a:latin typeface="Calibri"/>
              </a:rPr>
            </a:br>
            <a:endParaRPr lang="ru-RU" b="1" i="1" dirty="0">
              <a:solidFill>
                <a:srgbClr val="76369A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001788" y="3710998"/>
            <a:ext cx="9403608" cy="1490472"/>
          </a:xfrm>
        </p:spPr>
        <p:txBody>
          <a:bodyPr>
            <a:normAutofit/>
          </a:bodyPr>
          <a:lstStyle/>
          <a:p>
            <a:endParaRPr lang="kk-KZ" sz="2200" b="1" dirty="0"/>
          </a:p>
          <a:p>
            <a:pPr marL="0" indent="0" algn="just">
              <a:buNone/>
            </a:pPr>
            <a:r>
              <a:rPr lang="kk-KZ" sz="2000" b="1" dirty="0">
                <a:solidFill>
                  <a:srgbClr val="00B0F0"/>
                </a:solidFill>
              </a:rPr>
              <a:t>Кафедрой физической культуры по спортивно-оздоровительной</a:t>
            </a:r>
            <a:r>
              <a:rPr lang="ru-RU" sz="2000" b="1" dirty="0">
                <a:solidFill>
                  <a:srgbClr val="00B0F0"/>
                </a:solidFill>
              </a:rPr>
              <a:t> работе со студентами в Университете  </a:t>
            </a:r>
            <a:r>
              <a:rPr lang="kk-KZ" sz="2000" b="1" dirty="0">
                <a:solidFill>
                  <a:srgbClr val="00B0F0"/>
                </a:solidFill>
              </a:rPr>
              <a:t>проведено -</a:t>
            </a:r>
            <a:r>
              <a:rPr lang="kk-KZ" sz="2000" b="1" dirty="0">
                <a:solidFill>
                  <a:schemeClr val="bg1"/>
                </a:solidFill>
              </a:rPr>
              <a:t> 3 </a:t>
            </a:r>
            <a:r>
              <a:rPr lang="kk-KZ" sz="2000" b="1" dirty="0">
                <a:solidFill>
                  <a:srgbClr val="00B0F0"/>
                </a:solidFill>
              </a:rPr>
              <a:t>соревнования, в которых участвовали более </a:t>
            </a:r>
            <a:r>
              <a:rPr lang="kk-KZ" sz="2000" b="1" dirty="0">
                <a:solidFill>
                  <a:schemeClr val="bg1"/>
                </a:solidFill>
              </a:rPr>
              <a:t>185</a:t>
            </a:r>
            <a:r>
              <a:rPr lang="kk-KZ" sz="2000" b="1" dirty="0">
                <a:solidFill>
                  <a:srgbClr val="00B0F0"/>
                </a:solidFill>
              </a:rPr>
              <a:t> чел.</a:t>
            </a:r>
            <a:endParaRPr lang="ru-RU" sz="2000" b="1" dirty="0">
              <a:solidFill>
                <a:srgbClr val="00B0F0"/>
              </a:solidFill>
            </a:endParaRPr>
          </a:p>
          <a:p>
            <a:pPr marL="0" indent="0">
              <a:buNone/>
            </a:pPr>
            <a:endParaRPr lang="ru-RU" sz="2200" dirty="0"/>
          </a:p>
        </p:txBody>
      </p:sp>
      <p:grpSp>
        <p:nvGrpSpPr>
          <p:cNvPr id="13" name="Business_People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99472" y="3579189"/>
            <a:ext cx="1457633" cy="635982"/>
            <a:chOff x="0" y="758825"/>
            <a:chExt cx="12188825" cy="5318126"/>
          </a:xfrm>
          <a:solidFill>
            <a:srgbClr val="00B0F0"/>
          </a:solidFill>
        </p:grpSpPr>
        <p:sp>
          <p:nvSpPr>
            <p:cNvPr id="14" name="Freeform: Shape 274"/>
            <p:cNvSpPr>
              <a:spLocks/>
            </p:cNvSpPr>
            <p:nvPr/>
          </p:nvSpPr>
          <p:spPr bwMode="auto">
            <a:xfrm>
              <a:off x="3144838" y="4008438"/>
              <a:ext cx="5899150" cy="2068513"/>
            </a:xfrm>
            <a:custGeom>
              <a:avLst/>
              <a:gdLst>
                <a:gd name="connsiteX0" fmla="*/ 2757185 w 5899150"/>
                <a:gd name="connsiteY0" fmla="*/ 119062 h 2068513"/>
                <a:gd name="connsiteX1" fmla="*/ 2638425 w 5899150"/>
                <a:gd name="connsiteY1" fmla="*/ 1710870 h 2068513"/>
                <a:gd name="connsiteX2" fmla="*/ 2949575 w 5899150"/>
                <a:gd name="connsiteY2" fmla="*/ 1949450 h 2068513"/>
                <a:gd name="connsiteX3" fmla="*/ 3260725 w 5899150"/>
                <a:gd name="connsiteY3" fmla="*/ 1710870 h 2068513"/>
                <a:gd name="connsiteX4" fmla="*/ 3141966 w 5899150"/>
                <a:gd name="connsiteY4" fmla="*/ 119062 h 2068513"/>
                <a:gd name="connsiteX5" fmla="*/ 2426709 w 5899150"/>
                <a:gd name="connsiteY5" fmla="*/ 0 h 2068513"/>
                <a:gd name="connsiteX6" fmla="*/ 3472441 w 5899150"/>
                <a:gd name="connsiteY6" fmla="*/ 0 h 2068513"/>
                <a:gd name="connsiteX7" fmla="*/ 5899150 w 5899150"/>
                <a:gd name="connsiteY7" fmla="*/ 2068513 h 2068513"/>
                <a:gd name="connsiteX8" fmla="*/ 0 w 5899150"/>
                <a:gd name="connsiteY8" fmla="*/ 2068513 h 2068513"/>
                <a:gd name="connsiteX9" fmla="*/ 2426709 w 5899150"/>
                <a:gd name="connsiteY9" fmla="*/ 0 h 2068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899150" h="2068513">
                  <a:moveTo>
                    <a:pt x="2757185" y="119062"/>
                  </a:moveTo>
                  <a:lnTo>
                    <a:pt x="2638425" y="1710870"/>
                  </a:lnTo>
                  <a:lnTo>
                    <a:pt x="2949575" y="1949450"/>
                  </a:lnTo>
                  <a:lnTo>
                    <a:pt x="3260725" y="1710870"/>
                  </a:lnTo>
                  <a:lnTo>
                    <a:pt x="3141966" y="119062"/>
                  </a:lnTo>
                  <a:close/>
                  <a:moveTo>
                    <a:pt x="2426709" y="0"/>
                  </a:moveTo>
                  <a:lnTo>
                    <a:pt x="3472441" y="0"/>
                  </a:lnTo>
                  <a:cubicBezTo>
                    <a:pt x="4447220" y="0"/>
                    <a:pt x="5541048" y="850113"/>
                    <a:pt x="5899150" y="2068513"/>
                  </a:cubicBezTo>
                  <a:lnTo>
                    <a:pt x="0" y="2068513"/>
                  </a:lnTo>
                  <a:cubicBezTo>
                    <a:pt x="358102" y="850113"/>
                    <a:pt x="1451930" y="0"/>
                    <a:pt x="242670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231"/>
            <p:cNvSpPr>
              <a:spLocks noChangeArrowheads="1"/>
            </p:cNvSpPr>
            <p:nvPr/>
          </p:nvSpPr>
          <p:spPr bwMode="auto">
            <a:xfrm>
              <a:off x="4521200" y="758825"/>
              <a:ext cx="3146425" cy="31511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: Shape 275"/>
            <p:cNvSpPr>
              <a:spLocks/>
            </p:cNvSpPr>
            <p:nvPr/>
          </p:nvSpPr>
          <p:spPr bwMode="auto">
            <a:xfrm>
              <a:off x="8505825" y="4454525"/>
              <a:ext cx="3683000" cy="1622425"/>
            </a:xfrm>
            <a:custGeom>
              <a:avLst/>
              <a:gdLst>
                <a:gd name="connsiteX0" fmla="*/ 1218853 w 3683000"/>
                <a:gd name="connsiteY0" fmla="*/ 93663 h 1622425"/>
                <a:gd name="connsiteX1" fmla="*/ 1125538 w 3683000"/>
                <a:gd name="connsiteY1" fmla="*/ 1341390 h 1622425"/>
                <a:gd name="connsiteX2" fmla="*/ 1370251 w 3683000"/>
                <a:gd name="connsiteY2" fmla="*/ 1528763 h 1622425"/>
                <a:gd name="connsiteX3" fmla="*/ 1614488 w 3683000"/>
                <a:gd name="connsiteY3" fmla="*/ 1341390 h 1622425"/>
                <a:gd name="connsiteX4" fmla="*/ 1521173 w 3683000"/>
                <a:gd name="connsiteY4" fmla="*/ 93663 h 1622425"/>
                <a:gd name="connsiteX5" fmla="*/ 958609 w 3683000"/>
                <a:gd name="connsiteY5" fmla="*/ 0 h 1622425"/>
                <a:gd name="connsiteX6" fmla="*/ 1779117 w 3683000"/>
                <a:gd name="connsiteY6" fmla="*/ 0 h 1622425"/>
                <a:gd name="connsiteX7" fmla="*/ 3683000 w 3683000"/>
                <a:gd name="connsiteY7" fmla="*/ 1622425 h 1622425"/>
                <a:gd name="connsiteX8" fmla="*/ 704789 w 3683000"/>
                <a:gd name="connsiteY8" fmla="*/ 1622425 h 1622425"/>
                <a:gd name="connsiteX9" fmla="*/ 698122 w 3683000"/>
                <a:gd name="connsiteY9" fmla="*/ 1574735 h 1622425"/>
                <a:gd name="connsiteX10" fmla="*/ 0 w 3683000"/>
                <a:gd name="connsiteY10" fmla="*/ 321433 h 1622425"/>
                <a:gd name="connsiteX11" fmla="*/ 958609 w 3683000"/>
                <a:gd name="connsiteY11" fmla="*/ 0 h 162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83000" h="1622425">
                  <a:moveTo>
                    <a:pt x="1218853" y="93663"/>
                  </a:moveTo>
                  <a:lnTo>
                    <a:pt x="1125538" y="1341390"/>
                  </a:lnTo>
                  <a:lnTo>
                    <a:pt x="1370251" y="1528763"/>
                  </a:lnTo>
                  <a:lnTo>
                    <a:pt x="1614488" y="1341390"/>
                  </a:lnTo>
                  <a:lnTo>
                    <a:pt x="1521173" y="93663"/>
                  </a:lnTo>
                  <a:close/>
                  <a:moveTo>
                    <a:pt x="958609" y="0"/>
                  </a:moveTo>
                  <a:lnTo>
                    <a:pt x="1779117" y="0"/>
                  </a:lnTo>
                  <a:cubicBezTo>
                    <a:pt x="2543908" y="0"/>
                    <a:pt x="3402513" y="666711"/>
                    <a:pt x="3683000" y="1622425"/>
                  </a:cubicBezTo>
                  <a:lnTo>
                    <a:pt x="704789" y="1622425"/>
                  </a:lnTo>
                  <a:cubicBezTo>
                    <a:pt x="704789" y="1606210"/>
                    <a:pt x="702884" y="1590473"/>
                    <a:pt x="698122" y="1574735"/>
                  </a:cubicBezTo>
                  <a:cubicBezTo>
                    <a:pt x="557164" y="1094493"/>
                    <a:pt x="310012" y="667665"/>
                    <a:pt x="0" y="321433"/>
                  </a:cubicBezTo>
                  <a:cubicBezTo>
                    <a:pt x="303345" y="116365"/>
                    <a:pt x="639072" y="0"/>
                    <a:pt x="958609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Oval 234"/>
            <p:cNvSpPr>
              <a:spLocks noChangeArrowheads="1"/>
            </p:cNvSpPr>
            <p:nvPr/>
          </p:nvSpPr>
          <p:spPr bwMode="auto">
            <a:xfrm>
              <a:off x="8640763" y="1905000"/>
              <a:ext cx="2468563" cy="247173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273"/>
            <p:cNvSpPr>
              <a:spLocks/>
            </p:cNvSpPr>
            <p:nvPr/>
          </p:nvSpPr>
          <p:spPr bwMode="auto">
            <a:xfrm>
              <a:off x="0" y="4454525"/>
              <a:ext cx="3683000" cy="1622425"/>
            </a:xfrm>
            <a:custGeom>
              <a:avLst/>
              <a:gdLst>
                <a:gd name="connsiteX0" fmla="*/ 2161828 w 3683000"/>
                <a:gd name="connsiteY0" fmla="*/ 93663 h 1622425"/>
                <a:gd name="connsiteX1" fmla="*/ 2068513 w 3683000"/>
                <a:gd name="connsiteY1" fmla="*/ 1341390 h 1622425"/>
                <a:gd name="connsiteX2" fmla="*/ 2312750 w 3683000"/>
                <a:gd name="connsiteY2" fmla="*/ 1528763 h 1622425"/>
                <a:gd name="connsiteX3" fmla="*/ 2557463 w 3683000"/>
                <a:gd name="connsiteY3" fmla="*/ 1341390 h 1622425"/>
                <a:gd name="connsiteX4" fmla="*/ 2464148 w 3683000"/>
                <a:gd name="connsiteY4" fmla="*/ 93663 h 1622425"/>
                <a:gd name="connsiteX5" fmla="*/ 1903883 w 3683000"/>
                <a:gd name="connsiteY5" fmla="*/ 0 h 1622425"/>
                <a:gd name="connsiteX6" fmla="*/ 2724392 w 3683000"/>
                <a:gd name="connsiteY6" fmla="*/ 0 h 1622425"/>
                <a:gd name="connsiteX7" fmla="*/ 3683000 w 3683000"/>
                <a:gd name="connsiteY7" fmla="*/ 321433 h 1622425"/>
                <a:gd name="connsiteX8" fmla="*/ 2984878 w 3683000"/>
                <a:gd name="connsiteY8" fmla="*/ 1574735 h 1622425"/>
                <a:gd name="connsiteX9" fmla="*/ 2978211 w 3683000"/>
                <a:gd name="connsiteY9" fmla="*/ 1622425 h 1622425"/>
                <a:gd name="connsiteX10" fmla="*/ 0 w 3683000"/>
                <a:gd name="connsiteY10" fmla="*/ 1622425 h 1622425"/>
                <a:gd name="connsiteX11" fmla="*/ 1903883 w 3683000"/>
                <a:gd name="connsiteY11" fmla="*/ 0 h 162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83000" h="1622425">
                  <a:moveTo>
                    <a:pt x="2161828" y="93663"/>
                  </a:moveTo>
                  <a:lnTo>
                    <a:pt x="2068513" y="1341390"/>
                  </a:lnTo>
                  <a:lnTo>
                    <a:pt x="2312750" y="1528763"/>
                  </a:lnTo>
                  <a:lnTo>
                    <a:pt x="2557463" y="1341390"/>
                  </a:lnTo>
                  <a:lnTo>
                    <a:pt x="2464148" y="93663"/>
                  </a:lnTo>
                  <a:close/>
                  <a:moveTo>
                    <a:pt x="1903883" y="0"/>
                  </a:moveTo>
                  <a:lnTo>
                    <a:pt x="2724392" y="0"/>
                  </a:lnTo>
                  <a:cubicBezTo>
                    <a:pt x="3043928" y="0"/>
                    <a:pt x="3379655" y="116365"/>
                    <a:pt x="3683000" y="321433"/>
                  </a:cubicBezTo>
                  <a:cubicBezTo>
                    <a:pt x="3372988" y="667665"/>
                    <a:pt x="3125836" y="1094493"/>
                    <a:pt x="2984878" y="1574735"/>
                  </a:cubicBezTo>
                  <a:cubicBezTo>
                    <a:pt x="2980116" y="1590473"/>
                    <a:pt x="2977735" y="1606210"/>
                    <a:pt x="2978211" y="1622425"/>
                  </a:cubicBezTo>
                  <a:lnTo>
                    <a:pt x="0" y="1622425"/>
                  </a:lnTo>
                  <a:cubicBezTo>
                    <a:pt x="280487" y="666711"/>
                    <a:pt x="1139092" y="0"/>
                    <a:pt x="190388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Oval 237"/>
            <p:cNvSpPr>
              <a:spLocks noChangeArrowheads="1"/>
            </p:cNvSpPr>
            <p:nvPr/>
          </p:nvSpPr>
          <p:spPr bwMode="auto">
            <a:xfrm>
              <a:off x="1079500" y="1905000"/>
              <a:ext cx="2468563" cy="247173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1" name="Basket_ball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76201" y="1554355"/>
            <a:ext cx="1011716" cy="1757473"/>
            <a:chOff x="2913" y="1449"/>
            <a:chExt cx="1708" cy="2967"/>
          </a:xfrm>
          <a:solidFill>
            <a:srgbClr val="00B0F0"/>
          </a:solidFill>
        </p:grpSpPr>
        <p:sp>
          <p:nvSpPr>
            <p:cNvPr id="22" name="Freeform 254"/>
            <p:cNvSpPr>
              <a:spLocks/>
            </p:cNvSpPr>
            <p:nvPr/>
          </p:nvSpPr>
          <p:spPr bwMode="auto">
            <a:xfrm>
              <a:off x="2913" y="1465"/>
              <a:ext cx="1702" cy="2951"/>
            </a:xfrm>
            <a:custGeom>
              <a:avLst/>
              <a:gdLst>
                <a:gd name="T0" fmla="*/ 1429 w 3629"/>
                <a:gd name="T1" fmla="*/ 6179 h 6283"/>
                <a:gd name="T2" fmla="*/ 1218 w 3629"/>
                <a:gd name="T3" fmla="*/ 6022 h 6283"/>
                <a:gd name="T4" fmla="*/ 1229 w 3629"/>
                <a:gd name="T5" fmla="*/ 5679 h 6283"/>
                <a:gd name="T6" fmla="*/ 1437 w 3629"/>
                <a:gd name="T7" fmla="*/ 5623 h 6283"/>
                <a:gd name="T8" fmla="*/ 1544 w 3629"/>
                <a:gd name="T9" fmla="*/ 4552 h 6283"/>
                <a:gd name="T10" fmla="*/ 1614 w 3629"/>
                <a:gd name="T11" fmla="*/ 4234 h 6283"/>
                <a:gd name="T12" fmla="*/ 1552 w 3629"/>
                <a:gd name="T13" fmla="*/ 3977 h 6283"/>
                <a:gd name="T14" fmla="*/ 1385 w 3629"/>
                <a:gd name="T15" fmla="*/ 3754 h 6283"/>
                <a:gd name="T16" fmla="*/ 1401 w 3629"/>
                <a:gd name="T17" fmla="*/ 3615 h 6283"/>
                <a:gd name="T18" fmla="*/ 1589 w 3629"/>
                <a:gd name="T19" fmla="*/ 3066 h 6283"/>
                <a:gd name="T20" fmla="*/ 1693 w 3629"/>
                <a:gd name="T21" fmla="*/ 2627 h 6283"/>
                <a:gd name="T22" fmla="*/ 1726 w 3629"/>
                <a:gd name="T23" fmla="*/ 2526 h 6283"/>
                <a:gd name="T24" fmla="*/ 1752 w 3629"/>
                <a:gd name="T25" fmla="*/ 2147 h 6283"/>
                <a:gd name="T26" fmla="*/ 1695 w 3629"/>
                <a:gd name="T27" fmla="*/ 1794 h 6283"/>
                <a:gd name="T28" fmla="*/ 1590 w 3629"/>
                <a:gd name="T29" fmla="*/ 1670 h 6283"/>
                <a:gd name="T30" fmla="*/ 1329 w 3629"/>
                <a:gd name="T31" fmla="*/ 2090 h 6283"/>
                <a:gd name="T32" fmla="*/ 743 w 3629"/>
                <a:gd name="T33" fmla="*/ 2006 h 6283"/>
                <a:gd name="T34" fmla="*/ 653 w 3629"/>
                <a:gd name="T35" fmla="*/ 1990 h 6283"/>
                <a:gd name="T36" fmla="*/ 30 w 3629"/>
                <a:gd name="T37" fmla="*/ 1806 h 6283"/>
                <a:gd name="T38" fmla="*/ 244 w 3629"/>
                <a:gd name="T39" fmla="*/ 1278 h 6283"/>
                <a:gd name="T40" fmla="*/ 791 w 3629"/>
                <a:gd name="T41" fmla="*/ 1484 h 6283"/>
                <a:gd name="T42" fmla="*/ 823 w 3629"/>
                <a:gd name="T43" fmla="*/ 1756 h 6283"/>
                <a:gd name="T44" fmla="*/ 1049 w 3629"/>
                <a:gd name="T45" fmla="*/ 1814 h 6283"/>
                <a:gd name="T46" fmla="*/ 1333 w 3629"/>
                <a:gd name="T47" fmla="*/ 1378 h 6283"/>
                <a:gd name="T48" fmla="*/ 1658 w 3629"/>
                <a:gd name="T49" fmla="*/ 985 h 6283"/>
                <a:gd name="T50" fmla="*/ 1943 w 3629"/>
                <a:gd name="T51" fmla="*/ 869 h 6283"/>
                <a:gd name="T52" fmla="*/ 1973 w 3629"/>
                <a:gd name="T53" fmla="*/ 568 h 6283"/>
                <a:gd name="T54" fmla="*/ 1951 w 3629"/>
                <a:gd name="T55" fmla="*/ 388 h 6283"/>
                <a:gd name="T56" fmla="*/ 2090 w 3629"/>
                <a:gd name="T57" fmla="*/ 98 h 6283"/>
                <a:gd name="T58" fmla="*/ 2555 w 3629"/>
                <a:gd name="T59" fmla="*/ 433 h 6283"/>
                <a:gd name="T60" fmla="*/ 2461 w 3629"/>
                <a:gd name="T61" fmla="*/ 783 h 6283"/>
                <a:gd name="T62" fmla="*/ 2626 w 3629"/>
                <a:gd name="T63" fmla="*/ 835 h 6283"/>
                <a:gd name="T64" fmla="*/ 2843 w 3629"/>
                <a:gd name="T65" fmla="*/ 942 h 6283"/>
                <a:gd name="T66" fmla="*/ 3127 w 3629"/>
                <a:gd name="T67" fmla="*/ 1259 h 6283"/>
                <a:gd name="T68" fmla="*/ 3338 w 3629"/>
                <a:gd name="T69" fmla="*/ 1674 h 6283"/>
                <a:gd name="T70" fmla="*/ 3404 w 3629"/>
                <a:gd name="T71" fmla="*/ 1795 h 6283"/>
                <a:gd name="T72" fmla="*/ 3424 w 3629"/>
                <a:gd name="T73" fmla="*/ 2072 h 6283"/>
                <a:gd name="T74" fmla="*/ 3028 w 3629"/>
                <a:gd name="T75" fmla="*/ 2397 h 6283"/>
                <a:gd name="T76" fmla="*/ 2998 w 3629"/>
                <a:gd name="T77" fmla="*/ 2720 h 6283"/>
                <a:gd name="T78" fmla="*/ 3104 w 3629"/>
                <a:gd name="T79" fmla="*/ 3133 h 6283"/>
                <a:gd name="T80" fmla="*/ 3036 w 3629"/>
                <a:gd name="T81" fmla="*/ 3757 h 6283"/>
                <a:gd name="T82" fmla="*/ 3034 w 3629"/>
                <a:gd name="T83" fmla="*/ 4042 h 6283"/>
                <a:gd name="T84" fmla="*/ 3256 w 3629"/>
                <a:gd name="T85" fmla="*/ 3787 h 6283"/>
                <a:gd name="T86" fmla="*/ 3469 w 3629"/>
                <a:gd name="T87" fmla="*/ 4018 h 6283"/>
                <a:gd name="T88" fmla="*/ 3619 w 3629"/>
                <a:gd name="T89" fmla="*/ 4503 h 6283"/>
                <a:gd name="T90" fmla="*/ 3275 w 3629"/>
                <a:gd name="T91" fmla="*/ 4625 h 6283"/>
                <a:gd name="T92" fmla="*/ 3022 w 3629"/>
                <a:gd name="T93" fmla="*/ 4521 h 6283"/>
                <a:gd name="T94" fmla="*/ 2669 w 3629"/>
                <a:gd name="T95" fmla="*/ 4616 h 6283"/>
                <a:gd name="T96" fmla="*/ 2492 w 3629"/>
                <a:gd name="T97" fmla="*/ 4358 h 6283"/>
                <a:gd name="T98" fmla="*/ 2447 w 3629"/>
                <a:gd name="T99" fmla="*/ 4231 h 6283"/>
                <a:gd name="T100" fmla="*/ 2285 w 3629"/>
                <a:gd name="T101" fmla="*/ 3876 h 6283"/>
                <a:gd name="T102" fmla="*/ 2136 w 3629"/>
                <a:gd name="T103" fmla="*/ 4130 h 6283"/>
                <a:gd name="T104" fmla="*/ 1992 w 3629"/>
                <a:gd name="T105" fmla="*/ 4497 h 6283"/>
                <a:gd name="T106" fmla="*/ 1861 w 3629"/>
                <a:gd name="T107" fmla="*/ 5145 h 6283"/>
                <a:gd name="T108" fmla="*/ 1746 w 3629"/>
                <a:gd name="T109" fmla="*/ 5780 h 6283"/>
                <a:gd name="T110" fmla="*/ 1734 w 3629"/>
                <a:gd name="T111" fmla="*/ 6252 h 6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629" h="6283">
                  <a:moveTo>
                    <a:pt x="1522" y="6269"/>
                  </a:moveTo>
                  <a:cubicBezTo>
                    <a:pt x="1471" y="6254"/>
                    <a:pt x="1439" y="6222"/>
                    <a:pt x="1429" y="6179"/>
                  </a:cubicBezTo>
                  <a:cubicBezTo>
                    <a:pt x="1423" y="6150"/>
                    <a:pt x="1407" y="6137"/>
                    <a:pt x="1354" y="6115"/>
                  </a:cubicBezTo>
                  <a:cubicBezTo>
                    <a:pt x="1258" y="6075"/>
                    <a:pt x="1251" y="6071"/>
                    <a:pt x="1218" y="6022"/>
                  </a:cubicBezTo>
                  <a:cubicBezTo>
                    <a:pt x="1190" y="5981"/>
                    <a:pt x="1188" y="5967"/>
                    <a:pt x="1192" y="5846"/>
                  </a:cubicBezTo>
                  <a:cubicBezTo>
                    <a:pt x="1196" y="5727"/>
                    <a:pt x="1200" y="5711"/>
                    <a:pt x="1229" y="5679"/>
                  </a:cubicBezTo>
                  <a:cubicBezTo>
                    <a:pt x="1272" y="5633"/>
                    <a:pt x="1306" y="5622"/>
                    <a:pt x="1364" y="5635"/>
                  </a:cubicBezTo>
                  <a:cubicBezTo>
                    <a:pt x="1403" y="5643"/>
                    <a:pt x="1418" y="5641"/>
                    <a:pt x="1437" y="5623"/>
                  </a:cubicBezTo>
                  <a:cubicBezTo>
                    <a:pt x="1488" y="5576"/>
                    <a:pt x="1498" y="5510"/>
                    <a:pt x="1500" y="5200"/>
                  </a:cubicBezTo>
                  <a:cubicBezTo>
                    <a:pt x="1502" y="4853"/>
                    <a:pt x="1517" y="4626"/>
                    <a:pt x="1544" y="4552"/>
                  </a:cubicBezTo>
                  <a:cubicBezTo>
                    <a:pt x="1554" y="4523"/>
                    <a:pt x="1570" y="4453"/>
                    <a:pt x="1578" y="4397"/>
                  </a:cubicBezTo>
                  <a:cubicBezTo>
                    <a:pt x="1587" y="4341"/>
                    <a:pt x="1603" y="4267"/>
                    <a:pt x="1614" y="4234"/>
                  </a:cubicBezTo>
                  <a:cubicBezTo>
                    <a:pt x="1634" y="4175"/>
                    <a:pt x="1634" y="4174"/>
                    <a:pt x="1593" y="4102"/>
                  </a:cubicBezTo>
                  <a:cubicBezTo>
                    <a:pt x="1566" y="4054"/>
                    <a:pt x="1552" y="4012"/>
                    <a:pt x="1552" y="3977"/>
                  </a:cubicBezTo>
                  <a:cubicBezTo>
                    <a:pt x="1552" y="3949"/>
                    <a:pt x="1548" y="3925"/>
                    <a:pt x="1542" y="3925"/>
                  </a:cubicBezTo>
                  <a:cubicBezTo>
                    <a:pt x="1512" y="3925"/>
                    <a:pt x="1420" y="3825"/>
                    <a:pt x="1385" y="3754"/>
                  </a:cubicBezTo>
                  <a:lnTo>
                    <a:pt x="1345" y="3674"/>
                  </a:lnTo>
                  <a:lnTo>
                    <a:pt x="1401" y="3615"/>
                  </a:lnTo>
                  <a:cubicBezTo>
                    <a:pt x="1494" y="3517"/>
                    <a:pt x="1493" y="3520"/>
                    <a:pt x="1495" y="3370"/>
                  </a:cubicBezTo>
                  <a:cubicBezTo>
                    <a:pt x="1496" y="3222"/>
                    <a:pt x="1512" y="3171"/>
                    <a:pt x="1589" y="3066"/>
                  </a:cubicBezTo>
                  <a:cubicBezTo>
                    <a:pt x="1624" y="3019"/>
                    <a:pt x="1626" y="3008"/>
                    <a:pt x="1626" y="2885"/>
                  </a:cubicBezTo>
                  <a:cubicBezTo>
                    <a:pt x="1627" y="2747"/>
                    <a:pt x="1650" y="2659"/>
                    <a:pt x="1693" y="2627"/>
                  </a:cubicBezTo>
                  <a:cubicBezTo>
                    <a:pt x="1705" y="2618"/>
                    <a:pt x="1721" y="2595"/>
                    <a:pt x="1730" y="2576"/>
                  </a:cubicBezTo>
                  <a:cubicBezTo>
                    <a:pt x="1742" y="2548"/>
                    <a:pt x="1742" y="2539"/>
                    <a:pt x="1726" y="2526"/>
                  </a:cubicBezTo>
                  <a:cubicBezTo>
                    <a:pt x="1700" y="2504"/>
                    <a:pt x="1703" y="2444"/>
                    <a:pt x="1735" y="2382"/>
                  </a:cubicBezTo>
                  <a:cubicBezTo>
                    <a:pt x="1760" y="2333"/>
                    <a:pt x="1761" y="2317"/>
                    <a:pt x="1752" y="2147"/>
                  </a:cubicBezTo>
                  <a:cubicBezTo>
                    <a:pt x="1746" y="2031"/>
                    <a:pt x="1737" y="1954"/>
                    <a:pt x="1726" y="1937"/>
                  </a:cubicBezTo>
                  <a:cubicBezTo>
                    <a:pt x="1716" y="1923"/>
                    <a:pt x="1703" y="1859"/>
                    <a:pt x="1695" y="1794"/>
                  </a:cubicBezTo>
                  <a:cubicBezTo>
                    <a:pt x="1681" y="1668"/>
                    <a:pt x="1656" y="1579"/>
                    <a:pt x="1636" y="1582"/>
                  </a:cubicBezTo>
                  <a:cubicBezTo>
                    <a:pt x="1629" y="1583"/>
                    <a:pt x="1609" y="1622"/>
                    <a:pt x="1590" y="1670"/>
                  </a:cubicBezTo>
                  <a:cubicBezTo>
                    <a:pt x="1572" y="1717"/>
                    <a:pt x="1547" y="1775"/>
                    <a:pt x="1535" y="1797"/>
                  </a:cubicBezTo>
                  <a:cubicBezTo>
                    <a:pt x="1513" y="1840"/>
                    <a:pt x="1399" y="2002"/>
                    <a:pt x="1329" y="2090"/>
                  </a:cubicBezTo>
                  <a:cubicBezTo>
                    <a:pt x="1288" y="2142"/>
                    <a:pt x="1186" y="2216"/>
                    <a:pt x="1156" y="2216"/>
                  </a:cubicBezTo>
                  <a:cubicBezTo>
                    <a:pt x="1121" y="2216"/>
                    <a:pt x="792" y="2048"/>
                    <a:pt x="743" y="2006"/>
                  </a:cubicBezTo>
                  <a:lnTo>
                    <a:pt x="692" y="1960"/>
                  </a:lnTo>
                  <a:lnTo>
                    <a:pt x="653" y="1990"/>
                  </a:lnTo>
                  <a:cubicBezTo>
                    <a:pt x="556" y="2062"/>
                    <a:pt x="402" y="2080"/>
                    <a:pt x="274" y="2033"/>
                  </a:cubicBezTo>
                  <a:cubicBezTo>
                    <a:pt x="187" y="2001"/>
                    <a:pt x="65" y="1887"/>
                    <a:pt x="30" y="1806"/>
                  </a:cubicBezTo>
                  <a:cubicBezTo>
                    <a:pt x="1" y="1737"/>
                    <a:pt x="0" y="1592"/>
                    <a:pt x="30" y="1506"/>
                  </a:cubicBezTo>
                  <a:cubicBezTo>
                    <a:pt x="60" y="1418"/>
                    <a:pt x="150" y="1322"/>
                    <a:pt x="244" y="1278"/>
                  </a:cubicBezTo>
                  <a:cubicBezTo>
                    <a:pt x="330" y="1239"/>
                    <a:pt x="464" y="1233"/>
                    <a:pt x="559" y="1265"/>
                  </a:cubicBezTo>
                  <a:cubicBezTo>
                    <a:pt x="645" y="1295"/>
                    <a:pt x="745" y="1390"/>
                    <a:pt x="791" y="1484"/>
                  </a:cubicBezTo>
                  <a:cubicBezTo>
                    <a:pt x="823" y="1551"/>
                    <a:pt x="828" y="1576"/>
                    <a:pt x="826" y="1659"/>
                  </a:cubicBezTo>
                  <a:lnTo>
                    <a:pt x="823" y="1756"/>
                  </a:lnTo>
                  <a:lnTo>
                    <a:pt x="925" y="1785"/>
                  </a:lnTo>
                  <a:cubicBezTo>
                    <a:pt x="982" y="1801"/>
                    <a:pt x="1038" y="1814"/>
                    <a:pt x="1049" y="1814"/>
                  </a:cubicBezTo>
                  <a:cubicBezTo>
                    <a:pt x="1071" y="1815"/>
                    <a:pt x="1168" y="1694"/>
                    <a:pt x="1258" y="1556"/>
                  </a:cubicBezTo>
                  <a:cubicBezTo>
                    <a:pt x="1285" y="1514"/>
                    <a:pt x="1316" y="1441"/>
                    <a:pt x="1333" y="1378"/>
                  </a:cubicBezTo>
                  <a:cubicBezTo>
                    <a:pt x="1369" y="1240"/>
                    <a:pt x="1472" y="1065"/>
                    <a:pt x="1545" y="1018"/>
                  </a:cubicBezTo>
                  <a:cubicBezTo>
                    <a:pt x="1562" y="1007"/>
                    <a:pt x="1612" y="992"/>
                    <a:pt x="1658" y="985"/>
                  </a:cubicBezTo>
                  <a:cubicBezTo>
                    <a:pt x="1729" y="973"/>
                    <a:pt x="1775" y="956"/>
                    <a:pt x="1863" y="909"/>
                  </a:cubicBezTo>
                  <a:cubicBezTo>
                    <a:pt x="1874" y="904"/>
                    <a:pt x="1910" y="886"/>
                    <a:pt x="1943" y="869"/>
                  </a:cubicBezTo>
                  <a:cubicBezTo>
                    <a:pt x="2009" y="836"/>
                    <a:pt x="2018" y="814"/>
                    <a:pt x="2018" y="675"/>
                  </a:cubicBezTo>
                  <a:cubicBezTo>
                    <a:pt x="2019" y="609"/>
                    <a:pt x="2015" y="601"/>
                    <a:pt x="1973" y="568"/>
                  </a:cubicBezTo>
                  <a:cubicBezTo>
                    <a:pt x="1932" y="535"/>
                    <a:pt x="1928" y="525"/>
                    <a:pt x="1928" y="468"/>
                  </a:cubicBezTo>
                  <a:cubicBezTo>
                    <a:pt x="1928" y="423"/>
                    <a:pt x="1934" y="400"/>
                    <a:pt x="1951" y="388"/>
                  </a:cubicBezTo>
                  <a:cubicBezTo>
                    <a:pt x="1966" y="376"/>
                    <a:pt x="1974" y="350"/>
                    <a:pt x="1976" y="302"/>
                  </a:cubicBezTo>
                  <a:cubicBezTo>
                    <a:pt x="1980" y="206"/>
                    <a:pt x="2009" y="154"/>
                    <a:pt x="2090" y="98"/>
                  </a:cubicBezTo>
                  <a:cubicBezTo>
                    <a:pt x="2232" y="0"/>
                    <a:pt x="2380" y="2"/>
                    <a:pt x="2474" y="102"/>
                  </a:cubicBezTo>
                  <a:cubicBezTo>
                    <a:pt x="2543" y="177"/>
                    <a:pt x="2563" y="254"/>
                    <a:pt x="2555" y="433"/>
                  </a:cubicBezTo>
                  <a:cubicBezTo>
                    <a:pt x="2548" y="603"/>
                    <a:pt x="2540" y="649"/>
                    <a:pt x="2519" y="649"/>
                  </a:cubicBezTo>
                  <a:cubicBezTo>
                    <a:pt x="2504" y="649"/>
                    <a:pt x="2450" y="775"/>
                    <a:pt x="2461" y="783"/>
                  </a:cubicBezTo>
                  <a:cubicBezTo>
                    <a:pt x="2474" y="793"/>
                    <a:pt x="2583" y="823"/>
                    <a:pt x="2593" y="820"/>
                  </a:cubicBezTo>
                  <a:cubicBezTo>
                    <a:pt x="2599" y="818"/>
                    <a:pt x="2614" y="825"/>
                    <a:pt x="2626" y="835"/>
                  </a:cubicBezTo>
                  <a:cubicBezTo>
                    <a:pt x="2637" y="845"/>
                    <a:pt x="2681" y="863"/>
                    <a:pt x="2722" y="876"/>
                  </a:cubicBezTo>
                  <a:cubicBezTo>
                    <a:pt x="2767" y="890"/>
                    <a:pt x="2817" y="917"/>
                    <a:pt x="2843" y="942"/>
                  </a:cubicBezTo>
                  <a:cubicBezTo>
                    <a:pt x="2868" y="966"/>
                    <a:pt x="2916" y="1002"/>
                    <a:pt x="2949" y="1024"/>
                  </a:cubicBezTo>
                  <a:cubicBezTo>
                    <a:pt x="3035" y="1080"/>
                    <a:pt x="3092" y="1156"/>
                    <a:pt x="3127" y="1259"/>
                  </a:cubicBezTo>
                  <a:cubicBezTo>
                    <a:pt x="3144" y="1308"/>
                    <a:pt x="3180" y="1382"/>
                    <a:pt x="3208" y="1423"/>
                  </a:cubicBezTo>
                  <a:cubicBezTo>
                    <a:pt x="3265" y="1508"/>
                    <a:pt x="3316" y="1606"/>
                    <a:pt x="3338" y="1674"/>
                  </a:cubicBezTo>
                  <a:cubicBezTo>
                    <a:pt x="3346" y="1700"/>
                    <a:pt x="3365" y="1731"/>
                    <a:pt x="3379" y="1744"/>
                  </a:cubicBezTo>
                  <a:cubicBezTo>
                    <a:pt x="3393" y="1757"/>
                    <a:pt x="3404" y="1779"/>
                    <a:pt x="3404" y="1795"/>
                  </a:cubicBezTo>
                  <a:cubicBezTo>
                    <a:pt x="3404" y="1810"/>
                    <a:pt x="3413" y="1834"/>
                    <a:pt x="3423" y="1848"/>
                  </a:cubicBezTo>
                  <a:cubicBezTo>
                    <a:pt x="3448" y="1881"/>
                    <a:pt x="3449" y="2024"/>
                    <a:pt x="3424" y="2072"/>
                  </a:cubicBezTo>
                  <a:cubicBezTo>
                    <a:pt x="3390" y="2139"/>
                    <a:pt x="3223" y="2255"/>
                    <a:pt x="3117" y="2286"/>
                  </a:cubicBezTo>
                  <a:cubicBezTo>
                    <a:pt x="3068" y="2301"/>
                    <a:pt x="3063" y="2307"/>
                    <a:pt x="3028" y="2397"/>
                  </a:cubicBezTo>
                  <a:cubicBezTo>
                    <a:pt x="3008" y="2449"/>
                    <a:pt x="2985" y="2498"/>
                    <a:pt x="2977" y="2506"/>
                  </a:cubicBezTo>
                  <a:cubicBezTo>
                    <a:pt x="2953" y="2530"/>
                    <a:pt x="2963" y="2633"/>
                    <a:pt x="2998" y="2720"/>
                  </a:cubicBezTo>
                  <a:cubicBezTo>
                    <a:pt x="3028" y="2796"/>
                    <a:pt x="3052" y="2897"/>
                    <a:pt x="3076" y="3051"/>
                  </a:cubicBezTo>
                  <a:cubicBezTo>
                    <a:pt x="3081" y="3080"/>
                    <a:pt x="3093" y="3117"/>
                    <a:pt x="3104" y="3133"/>
                  </a:cubicBezTo>
                  <a:cubicBezTo>
                    <a:pt x="3133" y="3179"/>
                    <a:pt x="3116" y="3410"/>
                    <a:pt x="3075" y="3515"/>
                  </a:cubicBezTo>
                  <a:cubicBezTo>
                    <a:pt x="3051" y="3578"/>
                    <a:pt x="3042" y="3630"/>
                    <a:pt x="3036" y="3757"/>
                  </a:cubicBezTo>
                  <a:cubicBezTo>
                    <a:pt x="3032" y="3846"/>
                    <a:pt x="3025" y="3947"/>
                    <a:pt x="3020" y="3980"/>
                  </a:cubicBezTo>
                  <a:cubicBezTo>
                    <a:pt x="3014" y="4033"/>
                    <a:pt x="3016" y="4042"/>
                    <a:pt x="3034" y="4042"/>
                  </a:cubicBezTo>
                  <a:cubicBezTo>
                    <a:pt x="3073" y="4042"/>
                    <a:pt x="3117" y="3984"/>
                    <a:pt x="3126" y="3919"/>
                  </a:cubicBezTo>
                  <a:cubicBezTo>
                    <a:pt x="3139" y="3832"/>
                    <a:pt x="3177" y="3794"/>
                    <a:pt x="3256" y="3787"/>
                  </a:cubicBezTo>
                  <a:cubicBezTo>
                    <a:pt x="3308" y="3782"/>
                    <a:pt x="3328" y="3786"/>
                    <a:pt x="3365" y="3811"/>
                  </a:cubicBezTo>
                  <a:cubicBezTo>
                    <a:pt x="3432" y="3857"/>
                    <a:pt x="3468" y="3930"/>
                    <a:pt x="3469" y="4018"/>
                  </a:cubicBezTo>
                  <a:cubicBezTo>
                    <a:pt x="3469" y="4103"/>
                    <a:pt x="3502" y="4189"/>
                    <a:pt x="3552" y="4236"/>
                  </a:cubicBezTo>
                  <a:cubicBezTo>
                    <a:pt x="3603" y="4283"/>
                    <a:pt x="3629" y="4388"/>
                    <a:pt x="3619" y="4503"/>
                  </a:cubicBezTo>
                  <a:cubicBezTo>
                    <a:pt x="3598" y="4733"/>
                    <a:pt x="3516" y="4849"/>
                    <a:pt x="3395" y="4817"/>
                  </a:cubicBezTo>
                  <a:cubicBezTo>
                    <a:pt x="3344" y="4803"/>
                    <a:pt x="3312" y="4752"/>
                    <a:pt x="3275" y="4625"/>
                  </a:cubicBezTo>
                  <a:cubicBezTo>
                    <a:pt x="3225" y="4452"/>
                    <a:pt x="3153" y="4366"/>
                    <a:pt x="3117" y="4435"/>
                  </a:cubicBezTo>
                  <a:cubicBezTo>
                    <a:pt x="3101" y="4466"/>
                    <a:pt x="3042" y="4520"/>
                    <a:pt x="3022" y="4521"/>
                  </a:cubicBezTo>
                  <a:cubicBezTo>
                    <a:pt x="3015" y="4521"/>
                    <a:pt x="2965" y="4550"/>
                    <a:pt x="2912" y="4586"/>
                  </a:cubicBezTo>
                  <a:cubicBezTo>
                    <a:pt x="2777" y="4676"/>
                    <a:pt x="2746" y="4680"/>
                    <a:pt x="2669" y="4616"/>
                  </a:cubicBezTo>
                  <a:cubicBezTo>
                    <a:pt x="2549" y="4518"/>
                    <a:pt x="2511" y="4472"/>
                    <a:pt x="2511" y="4426"/>
                  </a:cubicBezTo>
                  <a:cubicBezTo>
                    <a:pt x="2511" y="4403"/>
                    <a:pt x="2502" y="4372"/>
                    <a:pt x="2492" y="4358"/>
                  </a:cubicBezTo>
                  <a:cubicBezTo>
                    <a:pt x="2481" y="4345"/>
                    <a:pt x="2472" y="4322"/>
                    <a:pt x="2472" y="4309"/>
                  </a:cubicBezTo>
                  <a:cubicBezTo>
                    <a:pt x="2472" y="4295"/>
                    <a:pt x="2461" y="4260"/>
                    <a:pt x="2447" y="4231"/>
                  </a:cubicBezTo>
                  <a:cubicBezTo>
                    <a:pt x="2424" y="4181"/>
                    <a:pt x="2381" y="4006"/>
                    <a:pt x="2381" y="3964"/>
                  </a:cubicBezTo>
                  <a:cubicBezTo>
                    <a:pt x="2381" y="3946"/>
                    <a:pt x="2294" y="3866"/>
                    <a:pt x="2285" y="3876"/>
                  </a:cubicBezTo>
                  <a:cubicBezTo>
                    <a:pt x="2282" y="3878"/>
                    <a:pt x="2254" y="3933"/>
                    <a:pt x="2222" y="3997"/>
                  </a:cubicBezTo>
                  <a:cubicBezTo>
                    <a:pt x="2190" y="4061"/>
                    <a:pt x="2151" y="4121"/>
                    <a:pt x="2136" y="4130"/>
                  </a:cubicBezTo>
                  <a:cubicBezTo>
                    <a:pt x="2121" y="4138"/>
                    <a:pt x="2109" y="4154"/>
                    <a:pt x="2109" y="4165"/>
                  </a:cubicBezTo>
                  <a:cubicBezTo>
                    <a:pt x="2109" y="4201"/>
                    <a:pt x="2031" y="4424"/>
                    <a:pt x="1992" y="4497"/>
                  </a:cubicBezTo>
                  <a:cubicBezTo>
                    <a:pt x="1955" y="4567"/>
                    <a:pt x="1953" y="4580"/>
                    <a:pt x="1948" y="4763"/>
                  </a:cubicBezTo>
                  <a:cubicBezTo>
                    <a:pt x="1943" y="4963"/>
                    <a:pt x="1921" y="5057"/>
                    <a:pt x="1861" y="5145"/>
                  </a:cubicBezTo>
                  <a:cubicBezTo>
                    <a:pt x="1825" y="5197"/>
                    <a:pt x="1769" y="5449"/>
                    <a:pt x="1778" y="5516"/>
                  </a:cubicBezTo>
                  <a:cubicBezTo>
                    <a:pt x="1786" y="5576"/>
                    <a:pt x="1766" y="5743"/>
                    <a:pt x="1746" y="5780"/>
                  </a:cubicBezTo>
                  <a:cubicBezTo>
                    <a:pt x="1725" y="5820"/>
                    <a:pt x="1736" y="5929"/>
                    <a:pt x="1780" y="6100"/>
                  </a:cubicBezTo>
                  <a:cubicBezTo>
                    <a:pt x="1801" y="6182"/>
                    <a:pt x="1787" y="6227"/>
                    <a:pt x="1734" y="6252"/>
                  </a:cubicBezTo>
                  <a:cubicBezTo>
                    <a:pt x="1688" y="6273"/>
                    <a:pt x="1566" y="6283"/>
                    <a:pt x="1522" y="626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255"/>
            <p:cNvSpPr>
              <a:spLocks/>
            </p:cNvSpPr>
            <p:nvPr/>
          </p:nvSpPr>
          <p:spPr bwMode="auto">
            <a:xfrm>
              <a:off x="2918" y="1481"/>
              <a:ext cx="1696" cy="2932"/>
            </a:xfrm>
            <a:custGeom>
              <a:avLst/>
              <a:gdLst>
                <a:gd name="T0" fmla="*/ 1419 w 3616"/>
                <a:gd name="T1" fmla="*/ 6142 h 6243"/>
                <a:gd name="T2" fmla="*/ 1181 w 3616"/>
                <a:gd name="T3" fmla="*/ 5877 h 6243"/>
                <a:gd name="T4" fmla="*/ 1342 w 3616"/>
                <a:gd name="T5" fmla="*/ 5603 h 6243"/>
                <a:gd name="T6" fmla="*/ 1489 w 3616"/>
                <a:gd name="T7" fmla="*/ 5206 h 6243"/>
                <a:gd name="T8" fmla="*/ 1574 w 3616"/>
                <a:gd name="T9" fmla="*/ 4332 h 6243"/>
                <a:gd name="T10" fmla="*/ 1582 w 3616"/>
                <a:gd name="T11" fmla="*/ 4066 h 6243"/>
                <a:gd name="T12" fmla="*/ 1496 w 3616"/>
                <a:gd name="T13" fmla="*/ 3869 h 6243"/>
                <a:gd name="T14" fmla="*/ 1343 w 3616"/>
                <a:gd name="T15" fmla="*/ 3631 h 6243"/>
                <a:gd name="T16" fmla="*/ 1487 w 3616"/>
                <a:gd name="T17" fmla="*/ 3392 h 6243"/>
                <a:gd name="T18" fmla="*/ 1584 w 3616"/>
                <a:gd name="T19" fmla="*/ 3024 h 6243"/>
                <a:gd name="T20" fmla="*/ 1684 w 3616"/>
                <a:gd name="T21" fmla="*/ 2596 h 6243"/>
                <a:gd name="T22" fmla="*/ 1713 w 3616"/>
                <a:gd name="T23" fmla="*/ 2481 h 6243"/>
                <a:gd name="T24" fmla="*/ 1738 w 3616"/>
                <a:gd name="T25" fmla="*/ 2126 h 6243"/>
                <a:gd name="T26" fmla="*/ 1691 w 3616"/>
                <a:gd name="T27" fmla="*/ 1796 h 6243"/>
                <a:gd name="T28" fmla="*/ 1568 w 3616"/>
                <a:gd name="T29" fmla="*/ 1659 h 6243"/>
                <a:gd name="T30" fmla="*/ 1128 w 3616"/>
                <a:gd name="T31" fmla="*/ 2176 h 6243"/>
                <a:gd name="T32" fmla="*/ 679 w 3616"/>
                <a:gd name="T33" fmla="*/ 1927 h 6243"/>
                <a:gd name="T34" fmla="*/ 120 w 3616"/>
                <a:gd name="T35" fmla="*/ 1902 h 6243"/>
                <a:gd name="T36" fmla="*/ 39 w 3616"/>
                <a:gd name="T37" fmla="*/ 1437 h 6243"/>
                <a:gd name="T38" fmla="*/ 694 w 3616"/>
                <a:gd name="T39" fmla="*/ 1334 h 6243"/>
                <a:gd name="T40" fmla="*/ 943 w 3616"/>
                <a:gd name="T41" fmla="*/ 1762 h 6243"/>
                <a:gd name="T42" fmla="*/ 1187 w 3616"/>
                <a:gd name="T43" fmla="*/ 1611 h 6243"/>
                <a:gd name="T44" fmla="*/ 1432 w 3616"/>
                <a:gd name="T45" fmla="*/ 1107 h 6243"/>
                <a:gd name="T46" fmla="*/ 1813 w 3616"/>
                <a:gd name="T47" fmla="*/ 899 h 6243"/>
                <a:gd name="T48" fmla="*/ 1944 w 3616"/>
                <a:gd name="T49" fmla="*/ 839 h 6243"/>
                <a:gd name="T50" fmla="*/ 1994 w 3616"/>
                <a:gd name="T51" fmla="*/ 550 h 6243"/>
                <a:gd name="T52" fmla="*/ 1943 w 3616"/>
                <a:gd name="T53" fmla="*/ 356 h 6243"/>
                <a:gd name="T54" fmla="*/ 1969 w 3616"/>
                <a:gd name="T55" fmla="*/ 230 h 6243"/>
                <a:gd name="T56" fmla="*/ 2426 w 3616"/>
                <a:gd name="T57" fmla="*/ 37 h 6243"/>
                <a:gd name="T58" fmla="*/ 2540 w 3616"/>
                <a:gd name="T59" fmla="*/ 426 h 6243"/>
                <a:gd name="T60" fmla="*/ 2448 w 3616"/>
                <a:gd name="T61" fmla="*/ 736 h 6243"/>
                <a:gd name="T62" fmla="*/ 2627 w 3616"/>
                <a:gd name="T63" fmla="*/ 810 h 6243"/>
                <a:gd name="T64" fmla="*/ 2726 w 3616"/>
                <a:gd name="T65" fmla="*/ 848 h 6243"/>
                <a:gd name="T66" fmla="*/ 2824 w 3616"/>
                <a:gd name="T67" fmla="*/ 908 h 6243"/>
                <a:gd name="T68" fmla="*/ 3120 w 3616"/>
                <a:gd name="T69" fmla="*/ 1244 h 6243"/>
                <a:gd name="T70" fmla="*/ 3307 w 3616"/>
                <a:gd name="T71" fmla="*/ 1598 h 6243"/>
                <a:gd name="T72" fmla="*/ 3393 w 3616"/>
                <a:gd name="T73" fmla="*/ 1767 h 6243"/>
                <a:gd name="T74" fmla="*/ 3407 w 3616"/>
                <a:gd name="T75" fmla="*/ 2045 h 6243"/>
                <a:gd name="T76" fmla="*/ 3023 w 3616"/>
                <a:gd name="T77" fmla="*/ 2339 h 6243"/>
                <a:gd name="T78" fmla="*/ 2959 w 3616"/>
                <a:gd name="T79" fmla="*/ 2626 h 6243"/>
                <a:gd name="T80" fmla="*/ 3092 w 3616"/>
                <a:gd name="T81" fmla="*/ 3105 h 6243"/>
                <a:gd name="T82" fmla="*/ 3030 w 3616"/>
                <a:gd name="T83" fmla="*/ 3678 h 6243"/>
                <a:gd name="T84" fmla="*/ 3027 w 3616"/>
                <a:gd name="T85" fmla="*/ 4008 h 6243"/>
                <a:gd name="T86" fmla="*/ 3177 w 3616"/>
                <a:gd name="T87" fmla="*/ 3774 h 6243"/>
                <a:gd name="T88" fmla="*/ 3535 w 3616"/>
                <a:gd name="T89" fmla="*/ 4197 h 6243"/>
                <a:gd name="T90" fmla="*/ 3603 w 3616"/>
                <a:gd name="T91" fmla="*/ 4493 h 6243"/>
                <a:gd name="T92" fmla="*/ 3258 w 3616"/>
                <a:gd name="T93" fmla="*/ 4566 h 6243"/>
                <a:gd name="T94" fmla="*/ 3090 w 3616"/>
                <a:gd name="T95" fmla="*/ 4418 h 6243"/>
                <a:gd name="T96" fmla="*/ 2886 w 3616"/>
                <a:gd name="T97" fmla="*/ 4560 h 6243"/>
                <a:gd name="T98" fmla="*/ 2624 w 3616"/>
                <a:gd name="T99" fmla="*/ 4554 h 6243"/>
                <a:gd name="T100" fmla="*/ 2482 w 3616"/>
                <a:gd name="T101" fmla="*/ 4321 h 6243"/>
                <a:gd name="T102" fmla="*/ 2430 w 3616"/>
                <a:gd name="T103" fmla="*/ 4177 h 6243"/>
                <a:gd name="T104" fmla="*/ 2321 w 3616"/>
                <a:gd name="T105" fmla="*/ 3872 h 6243"/>
                <a:gd name="T106" fmla="*/ 2214 w 3616"/>
                <a:gd name="T107" fmla="*/ 3954 h 6243"/>
                <a:gd name="T108" fmla="*/ 2085 w 3616"/>
                <a:gd name="T109" fmla="*/ 4175 h 6243"/>
                <a:gd name="T110" fmla="*/ 2034 w 3616"/>
                <a:gd name="T111" fmla="*/ 4337 h 6243"/>
                <a:gd name="T112" fmla="*/ 1936 w 3616"/>
                <a:gd name="T113" fmla="*/ 4725 h 6243"/>
                <a:gd name="T114" fmla="*/ 1767 w 3616"/>
                <a:gd name="T115" fmla="*/ 5488 h 6243"/>
                <a:gd name="T116" fmla="*/ 1747 w 3616"/>
                <a:gd name="T117" fmla="*/ 5976 h 6243"/>
                <a:gd name="T118" fmla="*/ 1517 w 3616"/>
                <a:gd name="T119" fmla="*/ 6236 h 6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16" h="6243">
                  <a:moveTo>
                    <a:pt x="1517" y="6236"/>
                  </a:moveTo>
                  <a:cubicBezTo>
                    <a:pt x="1464" y="6223"/>
                    <a:pt x="1437" y="6197"/>
                    <a:pt x="1419" y="6142"/>
                  </a:cubicBezTo>
                  <a:cubicBezTo>
                    <a:pt x="1408" y="6107"/>
                    <a:pt x="1393" y="6096"/>
                    <a:pt x="1325" y="6070"/>
                  </a:cubicBezTo>
                  <a:cubicBezTo>
                    <a:pt x="1220" y="6030"/>
                    <a:pt x="1188" y="5987"/>
                    <a:pt x="1181" y="5877"/>
                  </a:cubicBezTo>
                  <a:cubicBezTo>
                    <a:pt x="1174" y="5760"/>
                    <a:pt x="1188" y="5685"/>
                    <a:pt x="1227" y="5639"/>
                  </a:cubicBezTo>
                  <a:cubicBezTo>
                    <a:pt x="1258" y="5601"/>
                    <a:pt x="1264" y="5599"/>
                    <a:pt x="1342" y="5603"/>
                  </a:cubicBezTo>
                  <a:cubicBezTo>
                    <a:pt x="1411" y="5606"/>
                    <a:pt x="1427" y="5603"/>
                    <a:pt x="1443" y="5581"/>
                  </a:cubicBezTo>
                  <a:cubicBezTo>
                    <a:pt x="1479" y="5531"/>
                    <a:pt x="1488" y="5462"/>
                    <a:pt x="1489" y="5206"/>
                  </a:cubicBezTo>
                  <a:cubicBezTo>
                    <a:pt x="1490" y="4808"/>
                    <a:pt x="1501" y="4651"/>
                    <a:pt x="1535" y="4519"/>
                  </a:cubicBezTo>
                  <a:cubicBezTo>
                    <a:pt x="1552" y="4455"/>
                    <a:pt x="1570" y="4371"/>
                    <a:pt x="1574" y="4332"/>
                  </a:cubicBezTo>
                  <a:cubicBezTo>
                    <a:pt x="1579" y="4293"/>
                    <a:pt x="1591" y="4234"/>
                    <a:pt x="1603" y="4201"/>
                  </a:cubicBezTo>
                  <a:cubicBezTo>
                    <a:pt x="1623" y="4141"/>
                    <a:pt x="1623" y="4141"/>
                    <a:pt x="1582" y="4066"/>
                  </a:cubicBezTo>
                  <a:cubicBezTo>
                    <a:pt x="1558" y="4022"/>
                    <a:pt x="1541" y="3971"/>
                    <a:pt x="1541" y="3944"/>
                  </a:cubicBezTo>
                  <a:cubicBezTo>
                    <a:pt x="1541" y="3906"/>
                    <a:pt x="1533" y="3893"/>
                    <a:pt x="1496" y="3869"/>
                  </a:cubicBezTo>
                  <a:cubicBezTo>
                    <a:pt x="1440" y="3832"/>
                    <a:pt x="1384" y="3757"/>
                    <a:pt x="1360" y="3685"/>
                  </a:cubicBezTo>
                  <a:lnTo>
                    <a:pt x="1343" y="3631"/>
                  </a:lnTo>
                  <a:lnTo>
                    <a:pt x="1401" y="3570"/>
                  </a:lnTo>
                  <a:cubicBezTo>
                    <a:pt x="1494" y="3474"/>
                    <a:pt x="1501" y="3459"/>
                    <a:pt x="1487" y="3392"/>
                  </a:cubicBezTo>
                  <a:cubicBezTo>
                    <a:pt x="1473" y="3326"/>
                    <a:pt x="1489" y="3195"/>
                    <a:pt x="1520" y="3127"/>
                  </a:cubicBezTo>
                  <a:cubicBezTo>
                    <a:pt x="1532" y="3102"/>
                    <a:pt x="1560" y="3056"/>
                    <a:pt x="1584" y="3024"/>
                  </a:cubicBezTo>
                  <a:cubicBezTo>
                    <a:pt x="1624" y="2971"/>
                    <a:pt x="1627" y="2961"/>
                    <a:pt x="1617" y="2910"/>
                  </a:cubicBezTo>
                  <a:cubicBezTo>
                    <a:pt x="1598" y="2809"/>
                    <a:pt x="1644" y="2596"/>
                    <a:pt x="1684" y="2596"/>
                  </a:cubicBezTo>
                  <a:cubicBezTo>
                    <a:pt x="1691" y="2596"/>
                    <a:pt x="1705" y="2579"/>
                    <a:pt x="1716" y="2558"/>
                  </a:cubicBezTo>
                  <a:cubicBezTo>
                    <a:pt x="1734" y="2524"/>
                    <a:pt x="1733" y="2517"/>
                    <a:pt x="1713" y="2481"/>
                  </a:cubicBezTo>
                  <a:cubicBezTo>
                    <a:pt x="1691" y="2443"/>
                    <a:pt x="1691" y="2439"/>
                    <a:pt x="1716" y="2380"/>
                  </a:cubicBezTo>
                  <a:cubicBezTo>
                    <a:pt x="1739" y="2326"/>
                    <a:pt x="1742" y="2294"/>
                    <a:pt x="1738" y="2126"/>
                  </a:cubicBezTo>
                  <a:cubicBezTo>
                    <a:pt x="1736" y="1991"/>
                    <a:pt x="1729" y="1925"/>
                    <a:pt x="1717" y="1906"/>
                  </a:cubicBezTo>
                  <a:cubicBezTo>
                    <a:pt x="1707" y="1890"/>
                    <a:pt x="1695" y="1841"/>
                    <a:pt x="1691" y="1796"/>
                  </a:cubicBezTo>
                  <a:cubicBezTo>
                    <a:pt x="1676" y="1639"/>
                    <a:pt x="1642" y="1519"/>
                    <a:pt x="1619" y="1543"/>
                  </a:cubicBezTo>
                  <a:cubicBezTo>
                    <a:pt x="1613" y="1549"/>
                    <a:pt x="1590" y="1601"/>
                    <a:pt x="1568" y="1659"/>
                  </a:cubicBezTo>
                  <a:cubicBezTo>
                    <a:pt x="1511" y="1808"/>
                    <a:pt x="1319" y="2075"/>
                    <a:pt x="1224" y="2138"/>
                  </a:cubicBezTo>
                  <a:cubicBezTo>
                    <a:pt x="1176" y="2171"/>
                    <a:pt x="1147" y="2182"/>
                    <a:pt x="1128" y="2176"/>
                  </a:cubicBezTo>
                  <a:cubicBezTo>
                    <a:pt x="1050" y="2151"/>
                    <a:pt x="801" y="2023"/>
                    <a:pt x="744" y="1978"/>
                  </a:cubicBezTo>
                  <a:lnTo>
                    <a:pt x="679" y="1927"/>
                  </a:lnTo>
                  <a:lnTo>
                    <a:pt x="634" y="1958"/>
                  </a:lnTo>
                  <a:cubicBezTo>
                    <a:pt x="476" y="2067"/>
                    <a:pt x="261" y="2043"/>
                    <a:pt x="120" y="1902"/>
                  </a:cubicBezTo>
                  <a:cubicBezTo>
                    <a:pt x="27" y="1809"/>
                    <a:pt x="1" y="1748"/>
                    <a:pt x="1" y="1621"/>
                  </a:cubicBezTo>
                  <a:cubicBezTo>
                    <a:pt x="0" y="1534"/>
                    <a:pt x="6" y="1507"/>
                    <a:pt x="39" y="1437"/>
                  </a:cubicBezTo>
                  <a:cubicBezTo>
                    <a:pt x="112" y="1285"/>
                    <a:pt x="258" y="1202"/>
                    <a:pt x="433" y="1214"/>
                  </a:cubicBezTo>
                  <a:cubicBezTo>
                    <a:pt x="547" y="1221"/>
                    <a:pt x="610" y="1250"/>
                    <a:pt x="694" y="1334"/>
                  </a:cubicBezTo>
                  <a:cubicBezTo>
                    <a:pt x="780" y="1419"/>
                    <a:pt x="820" y="1519"/>
                    <a:pt x="814" y="1636"/>
                  </a:cubicBezTo>
                  <a:cubicBezTo>
                    <a:pt x="809" y="1731"/>
                    <a:pt x="806" y="1727"/>
                    <a:pt x="943" y="1762"/>
                  </a:cubicBezTo>
                  <a:cubicBezTo>
                    <a:pt x="1011" y="1779"/>
                    <a:pt x="1044" y="1782"/>
                    <a:pt x="1059" y="1773"/>
                  </a:cubicBezTo>
                  <a:cubicBezTo>
                    <a:pt x="1071" y="1765"/>
                    <a:pt x="1128" y="1693"/>
                    <a:pt x="1187" y="1611"/>
                  </a:cubicBezTo>
                  <a:cubicBezTo>
                    <a:pt x="1262" y="1507"/>
                    <a:pt x="1298" y="1444"/>
                    <a:pt x="1309" y="1399"/>
                  </a:cubicBezTo>
                  <a:cubicBezTo>
                    <a:pt x="1339" y="1275"/>
                    <a:pt x="1373" y="1196"/>
                    <a:pt x="1432" y="1107"/>
                  </a:cubicBezTo>
                  <a:cubicBezTo>
                    <a:pt x="1508" y="991"/>
                    <a:pt x="1546" y="966"/>
                    <a:pt x="1659" y="950"/>
                  </a:cubicBezTo>
                  <a:cubicBezTo>
                    <a:pt x="1722" y="941"/>
                    <a:pt x="1771" y="925"/>
                    <a:pt x="1813" y="899"/>
                  </a:cubicBezTo>
                  <a:cubicBezTo>
                    <a:pt x="1847" y="878"/>
                    <a:pt x="1879" y="861"/>
                    <a:pt x="1885" y="861"/>
                  </a:cubicBezTo>
                  <a:cubicBezTo>
                    <a:pt x="1891" y="861"/>
                    <a:pt x="1917" y="851"/>
                    <a:pt x="1944" y="839"/>
                  </a:cubicBezTo>
                  <a:cubicBezTo>
                    <a:pt x="2000" y="812"/>
                    <a:pt x="2008" y="789"/>
                    <a:pt x="2008" y="646"/>
                  </a:cubicBezTo>
                  <a:cubicBezTo>
                    <a:pt x="2008" y="588"/>
                    <a:pt x="2002" y="550"/>
                    <a:pt x="1994" y="550"/>
                  </a:cubicBezTo>
                  <a:cubicBezTo>
                    <a:pt x="1987" y="550"/>
                    <a:pt x="1966" y="536"/>
                    <a:pt x="1949" y="519"/>
                  </a:cubicBezTo>
                  <a:cubicBezTo>
                    <a:pt x="1907" y="477"/>
                    <a:pt x="1905" y="394"/>
                    <a:pt x="1943" y="356"/>
                  </a:cubicBezTo>
                  <a:cubicBezTo>
                    <a:pt x="1958" y="341"/>
                    <a:pt x="1966" y="324"/>
                    <a:pt x="1962" y="317"/>
                  </a:cubicBezTo>
                  <a:cubicBezTo>
                    <a:pt x="1958" y="310"/>
                    <a:pt x="1961" y="271"/>
                    <a:pt x="1969" y="230"/>
                  </a:cubicBezTo>
                  <a:cubicBezTo>
                    <a:pt x="1997" y="93"/>
                    <a:pt x="2124" y="1"/>
                    <a:pt x="2287" y="1"/>
                  </a:cubicBezTo>
                  <a:cubicBezTo>
                    <a:pt x="2368" y="0"/>
                    <a:pt x="2384" y="4"/>
                    <a:pt x="2426" y="37"/>
                  </a:cubicBezTo>
                  <a:cubicBezTo>
                    <a:pt x="2473" y="72"/>
                    <a:pt x="2527" y="162"/>
                    <a:pt x="2542" y="227"/>
                  </a:cubicBezTo>
                  <a:cubicBezTo>
                    <a:pt x="2546" y="245"/>
                    <a:pt x="2545" y="334"/>
                    <a:pt x="2540" y="426"/>
                  </a:cubicBezTo>
                  <a:cubicBezTo>
                    <a:pt x="2532" y="560"/>
                    <a:pt x="2526" y="595"/>
                    <a:pt x="2509" y="608"/>
                  </a:cubicBezTo>
                  <a:cubicBezTo>
                    <a:pt x="2486" y="625"/>
                    <a:pt x="2448" y="705"/>
                    <a:pt x="2448" y="736"/>
                  </a:cubicBezTo>
                  <a:cubicBezTo>
                    <a:pt x="2448" y="753"/>
                    <a:pt x="2541" y="791"/>
                    <a:pt x="2577" y="787"/>
                  </a:cubicBezTo>
                  <a:cubicBezTo>
                    <a:pt x="2587" y="786"/>
                    <a:pt x="2609" y="797"/>
                    <a:pt x="2627" y="810"/>
                  </a:cubicBezTo>
                  <a:cubicBezTo>
                    <a:pt x="2644" y="824"/>
                    <a:pt x="2672" y="835"/>
                    <a:pt x="2688" y="835"/>
                  </a:cubicBezTo>
                  <a:cubicBezTo>
                    <a:pt x="2705" y="835"/>
                    <a:pt x="2722" y="841"/>
                    <a:pt x="2726" y="848"/>
                  </a:cubicBezTo>
                  <a:cubicBezTo>
                    <a:pt x="2731" y="855"/>
                    <a:pt x="2744" y="861"/>
                    <a:pt x="2757" y="861"/>
                  </a:cubicBezTo>
                  <a:cubicBezTo>
                    <a:pt x="2769" y="861"/>
                    <a:pt x="2800" y="882"/>
                    <a:pt x="2824" y="908"/>
                  </a:cubicBezTo>
                  <a:cubicBezTo>
                    <a:pt x="2849" y="933"/>
                    <a:pt x="2889" y="965"/>
                    <a:pt x="2915" y="978"/>
                  </a:cubicBezTo>
                  <a:cubicBezTo>
                    <a:pt x="3008" y="1026"/>
                    <a:pt x="3089" y="1131"/>
                    <a:pt x="3120" y="1244"/>
                  </a:cubicBezTo>
                  <a:cubicBezTo>
                    <a:pt x="3127" y="1272"/>
                    <a:pt x="3165" y="1345"/>
                    <a:pt x="3203" y="1405"/>
                  </a:cubicBezTo>
                  <a:cubicBezTo>
                    <a:pt x="3240" y="1466"/>
                    <a:pt x="3287" y="1552"/>
                    <a:pt x="3307" y="1598"/>
                  </a:cubicBezTo>
                  <a:cubicBezTo>
                    <a:pt x="3326" y="1643"/>
                    <a:pt x="3354" y="1695"/>
                    <a:pt x="3368" y="1713"/>
                  </a:cubicBezTo>
                  <a:cubicBezTo>
                    <a:pt x="3382" y="1731"/>
                    <a:pt x="3393" y="1755"/>
                    <a:pt x="3393" y="1767"/>
                  </a:cubicBezTo>
                  <a:cubicBezTo>
                    <a:pt x="3393" y="1779"/>
                    <a:pt x="3402" y="1800"/>
                    <a:pt x="3412" y="1814"/>
                  </a:cubicBezTo>
                  <a:cubicBezTo>
                    <a:pt x="3441" y="1852"/>
                    <a:pt x="3438" y="1994"/>
                    <a:pt x="3407" y="2045"/>
                  </a:cubicBezTo>
                  <a:cubicBezTo>
                    <a:pt x="3366" y="2111"/>
                    <a:pt x="3223" y="2210"/>
                    <a:pt x="3117" y="2246"/>
                  </a:cubicBezTo>
                  <a:cubicBezTo>
                    <a:pt x="3055" y="2267"/>
                    <a:pt x="3049" y="2273"/>
                    <a:pt x="3023" y="2339"/>
                  </a:cubicBezTo>
                  <a:cubicBezTo>
                    <a:pt x="3008" y="2377"/>
                    <a:pt x="2983" y="2436"/>
                    <a:pt x="2968" y="2470"/>
                  </a:cubicBezTo>
                  <a:cubicBezTo>
                    <a:pt x="2935" y="2541"/>
                    <a:pt x="2933" y="2586"/>
                    <a:pt x="2959" y="2626"/>
                  </a:cubicBezTo>
                  <a:cubicBezTo>
                    <a:pt x="2985" y="2667"/>
                    <a:pt x="3024" y="2802"/>
                    <a:pt x="3050" y="2940"/>
                  </a:cubicBezTo>
                  <a:cubicBezTo>
                    <a:pt x="3061" y="3004"/>
                    <a:pt x="3080" y="3078"/>
                    <a:pt x="3092" y="3105"/>
                  </a:cubicBezTo>
                  <a:cubicBezTo>
                    <a:pt x="3119" y="3168"/>
                    <a:pt x="3105" y="3361"/>
                    <a:pt x="3067" y="3463"/>
                  </a:cubicBezTo>
                  <a:cubicBezTo>
                    <a:pt x="3049" y="3510"/>
                    <a:pt x="3036" y="3585"/>
                    <a:pt x="3030" y="3678"/>
                  </a:cubicBezTo>
                  <a:cubicBezTo>
                    <a:pt x="3025" y="3756"/>
                    <a:pt x="3016" y="3862"/>
                    <a:pt x="3011" y="3914"/>
                  </a:cubicBezTo>
                  <a:cubicBezTo>
                    <a:pt x="3002" y="4002"/>
                    <a:pt x="3003" y="4008"/>
                    <a:pt x="3027" y="4008"/>
                  </a:cubicBezTo>
                  <a:cubicBezTo>
                    <a:pt x="3067" y="4008"/>
                    <a:pt x="3104" y="3955"/>
                    <a:pt x="3121" y="3874"/>
                  </a:cubicBezTo>
                  <a:cubicBezTo>
                    <a:pt x="3134" y="3812"/>
                    <a:pt x="3143" y="3795"/>
                    <a:pt x="3177" y="3774"/>
                  </a:cubicBezTo>
                  <a:cubicBezTo>
                    <a:pt x="3304" y="3697"/>
                    <a:pt x="3458" y="3817"/>
                    <a:pt x="3458" y="3994"/>
                  </a:cubicBezTo>
                  <a:cubicBezTo>
                    <a:pt x="3458" y="4073"/>
                    <a:pt x="3482" y="4137"/>
                    <a:pt x="3535" y="4197"/>
                  </a:cubicBezTo>
                  <a:cubicBezTo>
                    <a:pt x="3556" y="4221"/>
                    <a:pt x="3583" y="4272"/>
                    <a:pt x="3595" y="4312"/>
                  </a:cubicBezTo>
                  <a:cubicBezTo>
                    <a:pt x="3615" y="4374"/>
                    <a:pt x="3616" y="4398"/>
                    <a:pt x="3603" y="4493"/>
                  </a:cubicBezTo>
                  <a:cubicBezTo>
                    <a:pt x="3577" y="4688"/>
                    <a:pt x="3514" y="4785"/>
                    <a:pt x="3415" y="4785"/>
                  </a:cubicBezTo>
                  <a:cubicBezTo>
                    <a:pt x="3344" y="4785"/>
                    <a:pt x="3302" y="4726"/>
                    <a:pt x="3258" y="4566"/>
                  </a:cubicBezTo>
                  <a:cubicBezTo>
                    <a:pt x="3231" y="4468"/>
                    <a:pt x="3185" y="4390"/>
                    <a:pt x="3150" y="4381"/>
                  </a:cubicBezTo>
                  <a:cubicBezTo>
                    <a:pt x="3132" y="4376"/>
                    <a:pt x="3114" y="4387"/>
                    <a:pt x="3090" y="4418"/>
                  </a:cubicBezTo>
                  <a:cubicBezTo>
                    <a:pt x="3071" y="4441"/>
                    <a:pt x="3037" y="4470"/>
                    <a:pt x="3014" y="4482"/>
                  </a:cubicBezTo>
                  <a:cubicBezTo>
                    <a:pt x="2991" y="4493"/>
                    <a:pt x="2934" y="4529"/>
                    <a:pt x="2886" y="4560"/>
                  </a:cubicBezTo>
                  <a:cubicBezTo>
                    <a:pt x="2839" y="4592"/>
                    <a:pt x="2781" y="4621"/>
                    <a:pt x="2757" y="4624"/>
                  </a:cubicBezTo>
                  <a:cubicBezTo>
                    <a:pt x="2718" y="4630"/>
                    <a:pt x="2703" y="4622"/>
                    <a:pt x="2624" y="4554"/>
                  </a:cubicBezTo>
                  <a:cubicBezTo>
                    <a:pt x="2529" y="4473"/>
                    <a:pt x="2501" y="4434"/>
                    <a:pt x="2500" y="4386"/>
                  </a:cubicBezTo>
                  <a:cubicBezTo>
                    <a:pt x="2500" y="4370"/>
                    <a:pt x="2492" y="4341"/>
                    <a:pt x="2482" y="4321"/>
                  </a:cubicBezTo>
                  <a:cubicBezTo>
                    <a:pt x="2472" y="4302"/>
                    <a:pt x="2461" y="4266"/>
                    <a:pt x="2456" y="4242"/>
                  </a:cubicBezTo>
                  <a:cubicBezTo>
                    <a:pt x="2451" y="4217"/>
                    <a:pt x="2440" y="4188"/>
                    <a:pt x="2430" y="4177"/>
                  </a:cubicBezTo>
                  <a:cubicBezTo>
                    <a:pt x="2420" y="4166"/>
                    <a:pt x="2409" y="4134"/>
                    <a:pt x="2404" y="4105"/>
                  </a:cubicBezTo>
                  <a:cubicBezTo>
                    <a:pt x="2382" y="3960"/>
                    <a:pt x="2364" y="3908"/>
                    <a:pt x="2321" y="3872"/>
                  </a:cubicBezTo>
                  <a:cubicBezTo>
                    <a:pt x="2298" y="3852"/>
                    <a:pt x="2276" y="3839"/>
                    <a:pt x="2274" y="3841"/>
                  </a:cubicBezTo>
                  <a:cubicBezTo>
                    <a:pt x="2272" y="3844"/>
                    <a:pt x="2245" y="3895"/>
                    <a:pt x="2214" y="3954"/>
                  </a:cubicBezTo>
                  <a:cubicBezTo>
                    <a:pt x="2183" y="4013"/>
                    <a:pt x="2146" y="4072"/>
                    <a:pt x="2130" y="4084"/>
                  </a:cubicBezTo>
                  <a:cubicBezTo>
                    <a:pt x="2114" y="4097"/>
                    <a:pt x="2095" y="4134"/>
                    <a:pt x="2085" y="4175"/>
                  </a:cubicBezTo>
                  <a:cubicBezTo>
                    <a:pt x="2076" y="4214"/>
                    <a:pt x="2061" y="4260"/>
                    <a:pt x="2051" y="4279"/>
                  </a:cubicBezTo>
                  <a:cubicBezTo>
                    <a:pt x="2042" y="4297"/>
                    <a:pt x="2034" y="4324"/>
                    <a:pt x="2034" y="4337"/>
                  </a:cubicBezTo>
                  <a:cubicBezTo>
                    <a:pt x="2033" y="4351"/>
                    <a:pt x="2012" y="4403"/>
                    <a:pt x="1987" y="4452"/>
                  </a:cubicBezTo>
                  <a:cubicBezTo>
                    <a:pt x="1941" y="4541"/>
                    <a:pt x="1940" y="4544"/>
                    <a:pt x="1936" y="4725"/>
                  </a:cubicBezTo>
                  <a:cubicBezTo>
                    <a:pt x="1932" y="4922"/>
                    <a:pt x="1918" y="4985"/>
                    <a:pt x="1853" y="5102"/>
                  </a:cubicBezTo>
                  <a:cubicBezTo>
                    <a:pt x="1807" y="5184"/>
                    <a:pt x="1756" y="5414"/>
                    <a:pt x="1767" y="5488"/>
                  </a:cubicBezTo>
                  <a:cubicBezTo>
                    <a:pt x="1771" y="5519"/>
                    <a:pt x="1765" y="5587"/>
                    <a:pt x="1753" y="5646"/>
                  </a:cubicBezTo>
                  <a:cubicBezTo>
                    <a:pt x="1727" y="5772"/>
                    <a:pt x="1726" y="5849"/>
                    <a:pt x="1747" y="5976"/>
                  </a:cubicBezTo>
                  <a:cubicBezTo>
                    <a:pt x="1788" y="6217"/>
                    <a:pt x="1787" y="6219"/>
                    <a:pt x="1613" y="6240"/>
                  </a:cubicBezTo>
                  <a:cubicBezTo>
                    <a:pt x="1584" y="6243"/>
                    <a:pt x="1541" y="6241"/>
                    <a:pt x="1517" y="62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256"/>
            <p:cNvSpPr>
              <a:spLocks/>
            </p:cNvSpPr>
            <p:nvPr/>
          </p:nvSpPr>
          <p:spPr bwMode="auto">
            <a:xfrm>
              <a:off x="2918" y="1466"/>
              <a:ext cx="1698" cy="2947"/>
            </a:xfrm>
            <a:custGeom>
              <a:avLst/>
              <a:gdLst>
                <a:gd name="T0" fmla="*/ 1425 w 3619"/>
                <a:gd name="T1" fmla="*/ 6184 h 6275"/>
                <a:gd name="T2" fmla="*/ 1179 w 3619"/>
                <a:gd name="T3" fmla="*/ 5870 h 6275"/>
                <a:gd name="T4" fmla="*/ 1345 w 3619"/>
                <a:gd name="T5" fmla="*/ 5638 h 6275"/>
                <a:gd name="T6" fmla="*/ 1449 w 3619"/>
                <a:gd name="T7" fmla="*/ 5603 h 6275"/>
                <a:gd name="T8" fmla="*/ 1540 w 3619"/>
                <a:gd name="T9" fmla="*/ 4527 h 6275"/>
                <a:gd name="T10" fmla="*/ 1601 w 3619"/>
                <a:gd name="T11" fmla="*/ 4234 h 6275"/>
                <a:gd name="T12" fmla="*/ 1541 w 3619"/>
                <a:gd name="T13" fmla="*/ 3970 h 6275"/>
                <a:gd name="T14" fmla="*/ 1360 w 3619"/>
                <a:gd name="T15" fmla="*/ 3717 h 6275"/>
                <a:gd name="T16" fmla="*/ 1408 w 3619"/>
                <a:gd name="T17" fmla="*/ 3596 h 6275"/>
                <a:gd name="T18" fmla="*/ 1556 w 3619"/>
                <a:gd name="T19" fmla="*/ 3104 h 6275"/>
                <a:gd name="T20" fmla="*/ 1604 w 3619"/>
                <a:gd name="T21" fmla="*/ 3029 h 6275"/>
                <a:gd name="T22" fmla="*/ 1690 w 3619"/>
                <a:gd name="T23" fmla="*/ 2624 h 6275"/>
                <a:gd name="T24" fmla="*/ 1716 w 3619"/>
                <a:gd name="T25" fmla="*/ 2412 h 6275"/>
                <a:gd name="T26" fmla="*/ 1716 w 3619"/>
                <a:gd name="T27" fmla="*/ 1937 h 6275"/>
                <a:gd name="T28" fmla="*/ 1640 w 3619"/>
                <a:gd name="T29" fmla="*/ 1584 h 6275"/>
                <a:gd name="T30" fmla="*/ 1224 w 3619"/>
                <a:gd name="T31" fmla="*/ 2171 h 6275"/>
                <a:gd name="T32" fmla="*/ 744 w 3619"/>
                <a:gd name="T33" fmla="*/ 2010 h 6275"/>
                <a:gd name="T34" fmla="*/ 634 w 3619"/>
                <a:gd name="T35" fmla="*/ 1990 h 6275"/>
                <a:gd name="T36" fmla="*/ 1 w 3619"/>
                <a:gd name="T37" fmla="*/ 1653 h 6275"/>
                <a:gd name="T38" fmla="*/ 433 w 3619"/>
                <a:gd name="T39" fmla="*/ 1246 h 6275"/>
                <a:gd name="T40" fmla="*/ 814 w 3619"/>
                <a:gd name="T41" fmla="*/ 1668 h 6275"/>
                <a:gd name="T42" fmla="*/ 1059 w 3619"/>
                <a:gd name="T43" fmla="*/ 1805 h 6275"/>
                <a:gd name="T44" fmla="*/ 1309 w 3619"/>
                <a:gd name="T45" fmla="*/ 1431 h 6275"/>
                <a:gd name="T46" fmla="*/ 1659 w 3619"/>
                <a:gd name="T47" fmla="*/ 982 h 6275"/>
                <a:gd name="T48" fmla="*/ 1885 w 3619"/>
                <a:gd name="T49" fmla="*/ 893 h 6275"/>
                <a:gd name="T50" fmla="*/ 2008 w 3619"/>
                <a:gd name="T51" fmla="*/ 678 h 6275"/>
                <a:gd name="T52" fmla="*/ 1949 w 3619"/>
                <a:gd name="T53" fmla="*/ 551 h 6275"/>
                <a:gd name="T54" fmla="*/ 1962 w 3619"/>
                <a:gd name="T55" fmla="*/ 349 h 6275"/>
                <a:gd name="T56" fmla="*/ 2387 w 3619"/>
                <a:gd name="T57" fmla="*/ 49 h 6275"/>
                <a:gd name="T58" fmla="*/ 2511 w 3619"/>
                <a:gd name="T59" fmla="*/ 639 h 6275"/>
                <a:gd name="T60" fmla="*/ 2503 w 3619"/>
                <a:gd name="T61" fmla="*/ 803 h 6275"/>
                <a:gd name="T62" fmla="*/ 2627 w 3619"/>
                <a:gd name="T63" fmla="*/ 846 h 6275"/>
                <a:gd name="T64" fmla="*/ 2726 w 3619"/>
                <a:gd name="T65" fmla="*/ 880 h 6275"/>
                <a:gd name="T66" fmla="*/ 2824 w 3619"/>
                <a:gd name="T67" fmla="*/ 940 h 6275"/>
                <a:gd name="T68" fmla="*/ 3120 w 3619"/>
                <a:gd name="T69" fmla="*/ 1276 h 6275"/>
                <a:gd name="T70" fmla="*/ 3307 w 3619"/>
                <a:gd name="T71" fmla="*/ 1630 h 6275"/>
                <a:gd name="T72" fmla="*/ 3393 w 3619"/>
                <a:gd name="T73" fmla="*/ 1799 h 6275"/>
                <a:gd name="T74" fmla="*/ 3407 w 3619"/>
                <a:gd name="T75" fmla="*/ 2077 h 6275"/>
                <a:gd name="T76" fmla="*/ 3012 w 3619"/>
                <a:gd name="T77" fmla="*/ 2399 h 6275"/>
                <a:gd name="T78" fmla="*/ 2952 w 3619"/>
                <a:gd name="T79" fmla="*/ 2647 h 6275"/>
                <a:gd name="T80" fmla="*/ 3095 w 3619"/>
                <a:gd name="T81" fmla="*/ 3146 h 6275"/>
                <a:gd name="T82" fmla="*/ 3030 w 3619"/>
                <a:gd name="T83" fmla="*/ 3710 h 6275"/>
                <a:gd name="T84" fmla="*/ 3027 w 3619"/>
                <a:gd name="T85" fmla="*/ 4040 h 6275"/>
                <a:gd name="T86" fmla="*/ 3134 w 3619"/>
                <a:gd name="T87" fmla="*/ 3839 h 6275"/>
                <a:gd name="T88" fmla="*/ 3458 w 3619"/>
                <a:gd name="T89" fmla="*/ 4026 h 6275"/>
                <a:gd name="T90" fmla="*/ 3602 w 3619"/>
                <a:gd name="T91" fmla="*/ 4528 h 6275"/>
                <a:gd name="T92" fmla="*/ 3258 w 3619"/>
                <a:gd name="T93" fmla="*/ 4598 h 6275"/>
                <a:gd name="T94" fmla="*/ 3090 w 3619"/>
                <a:gd name="T95" fmla="*/ 4450 h 6275"/>
                <a:gd name="T96" fmla="*/ 2881 w 3619"/>
                <a:gd name="T97" fmla="*/ 4594 h 6275"/>
                <a:gd name="T98" fmla="*/ 2625 w 3619"/>
                <a:gd name="T99" fmla="*/ 4585 h 6275"/>
                <a:gd name="T100" fmla="*/ 2480 w 3619"/>
                <a:gd name="T101" fmla="*/ 4351 h 6275"/>
                <a:gd name="T102" fmla="*/ 2437 w 3619"/>
                <a:gd name="T103" fmla="*/ 4220 h 6275"/>
                <a:gd name="T104" fmla="*/ 2327 w 3619"/>
                <a:gd name="T105" fmla="*/ 3908 h 6275"/>
                <a:gd name="T106" fmla="*/ 2216 w 3619"/>
                <a:gd name="T107" fmla="*/ 3982 h 6275"/>
                <a:gd name="T108" fmla="*/ 2085 w 3619"/>
                <a:gd name="T109" fmla="*/ 4207 h 6275"/>
                <a:gd name="T110" fmla="*/ 2034 w 3619"/>
                <a:gd name="T111" fmla="*/ 4369 h 6275"/>
                <a:gd name="T112" fmla="*/ 1940 w 3619"/>
                <a:gd name="T113" fmla="*/ 4675 h 6275"/>
                <a:gd name="T114" fmla="*/ 1766 w 3619"/>
                <a:gd name="T115" fmla="*/ 5512 h 6275"/>
                <a:gd name="T116" fmla="*/ 1747 w 3619"/>
                <a:gd name="T117" fmla="*/ 6015 h 6275"/>
                <a:gd name="T118" fmla="*/ 1593 w 3619"/>
                <a:gd name="T119" fmla="*/ 6273 h 6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19" h="6275">
                  <a:moveTo>
                    <a:pt x="1528" y="6268"/>
                  </a:moveTo>
                  <a:cubicBezTo>
                    <a:pt x="1464" y="6256"/>
                    <a:pt x="1452" y="6246"/>
                    <a:pt x="1425" y="6184"/>
                  </a:cubicBezTo>
                  <a:cubicBezTo>
                    <a:pt x="1408" y="6143"/>
                    <a:pt x="1390" y="6125"/>
                    <a:pt x="1358" y="6113"/>
                  </a:cubicBezTo>
                  <a:cubicBezTo>
                    <a:pt x="1209" y="6058"/>
                    <a:pt x="1179" y="6016"/>
                    <a:pt x="1179" y="5870"/>
                  </a:cubicBezTo>
                  <a:cubicBezTo>
                    <a:pt x="1179" y="5759"/>
                    <a:pt x="1196" y="5697"/>
                    <a:pt x="1236" y="5659"/>
                  </a:cubicBezTo>
                  <a:cubicBezTo>
                    <a:pt x="1265" y="5632"/>
                    <a:pt x="1276" y="5630"/>
                    <a:pt x="1345" y="5638"/>
                  </a:cubicBezTo>
                  <a:lnTo>
                    <a:pt x="1422" y="5647"/>
                  </a:lnTo>
                  <a:lnTo>
                    <a:pt x="1449" y="5603"/>
                  </a:lnTo>
                  <a:cubicBezTo>
                    <a:pt x="1485" y="5544"/>
                    <a:pt x="1488" y="5511"/>
                    <a:pt x="1495" y="5063"/>
                  </a:cubicBezTo>
                  <a:cubicBezTo>
                    <a:pt x="1500" y="4687"/>
                    <a:pt x="1501" y="4679"/>
                    <a:pt x="1540" y="4527"/>
                  </a:cubicBezTo>
                  <a:cubicBezTo>
                    <a:pt x="1562" y="4443"/>
                    <a:pt x="1580" y="4356"/>
                    <a:pt x="1580" y="4333"/>
                  </a:cubicBezTo>
                  <a:cubicBezTo>
                    <a:pt x="1580" y="4311"/>
                    <a:pt x="1590" y="4266"/>
                    <a:pt x="1601" y="4234"/>
                  </a:cubicBezTo>
                  <a:cubicBezTo>
                    <a:pt x="1622" y="4175"/>
                    <a:pt x="1622" y="4175"/>
                    <a:pt x="1582" y="4095"/>
                  </a:cubicBezTo>
                  <a:cubicBezTo>
                    <a:pt x="1560" y="4051"/>
                    <a:pt x="1541" y="3995"/>
                    <a:pt x="1541" y="3970"/>
                  </a:cubicBezTo>
                  <a:cubicBezTo>
                    <a:pt x="1541" y="3934"/>
                    <a:pt x="1534" y="3922"/>
                    <a:pt x="1497" y="3900"/>
                  </a:cubicBezTo>
                  <a:cubicBezTo>
                    <a:pt x="1442" y="3868"/>
                    <a:pt x="1384" y="3790"/>
                    <a:pt x="1360" y="3717"/>
                  </a:cubicBezTo>
                  <a:lnTo>
                    <a:pt x="1343" y="3663"/>
                  </a:lnTo>
                  <a:lnTo>
                    <a:pt x="1408" y="3596"/>
                  </a:lnTo>
                  <a:cubicBezTo>
                    <a:pt x="1494" y="3507"/>
                    <a:pt x="1502" y="3491"/>
                    <a:pt x="1487" y="3426"/>
                  </a:cubicBezTo>
                  <a:cubicBezTo>
                    <a:pt x="1465" y="3331"/>
                    <a:pt x="1507" y="3134"/>
                    <a:pt x="1556" y="3104"/>
                  </a:cubicBezTo>
                  <a:cubicBezTo>
                    <a:pt x="1569" y="3095"/>
                    <a:pt x="1580" y="3082"/>
                    <a:pt x="1580" y="3074"/>
                  </a:cubicBezTo>
                  <a:cubicBezTo>
                    <a:pt x="1580" y="3065"/>
                    <a:pt x="1591" y="3045"/>
                    <a:pt x="1604" y="3029"/>
                  </a:cubicBezTo>
                  <a:cubicBezTo>
                    <a:pt x="1624" y="3005"/>
                    <a:pt x="1626" y="2990"/>
                    <a:pt x="1617" y="2943"/>
                  </a:cubicBezTo>
                  <a:cubicBezTo>
                    <a:pt x="1597" y="2833"/>
                    <a:pt x="1640" y="2643"/>
                    <a:pt x="1690" y="2624"/>
                  </a:cubicBezTo>
                  <a:cubicBezTo>
                    <a:pt x="1726" y="2610"/>
                    <a:pt x="1737" y="2556"/>
                    <a:pt x="1713" y="2513"/>
                  </a:cubicBezTo>
                  <a:cubicBezTo>
                    <a:pt x="1691" y="2476"/>
                    <a:pt x="1691" y="2471"/>
                    <a:pt x="1716" y="2412"/>
                  </a:cubicBezTo>
                  <a:cubicBezTo>
                    <a:pt x="1739" y="2358"/>
                    <a:pt x="1742" y="2326"/>
                    <a:pt x="1738" y="2157"/>
                  </a:cubicBezTo>
                  <a:cubicBezTo>
                    <a:pt x="1735" y="2014"/>
                    <a:pt x="1730" y="1957"/>
                    <a:pt x="1716" y="1937"/>
                  </a:cubicBezTo>
                  <a:cubicBezTo>
                    <a:pt x="1705" y="1923"/>
                    <a:pt x="1697" y="1886"/>
                    <a:pt x="1697" y="1856"/>
                  </a:cubicBezTo>
                  <a:cubicBezTo>
                    <a:pt x="1697" y="1788"/>
                    <a:pt x="1664" y="1628"/>
                    <a:pt x="1640" y="1584"/>
                  </a:cubicBezTo>
                  <a:cubicBezTo>
                    <a:pt x="1623" y="1551"/>
                    <a:pt x="1622" y="1553"/>
                    <a:pt x="1576" y="1673"/>
                  </a:cubicBezTo>
                  <a:cubicBezTo>
                    <a:pt x="1511" y="1839"/>
                    <a:pt x="1324" y="2104"/>
                    <a:pt x="1224" y="2171"/>
                  </a:cubicBezTo>
                  <a:cubicBezTo>
                    <a:pt x="1176" y="2203"/>
                    <a:pt x="1147" y="2214"/>
                    <a:pt x="1128" y="2208"/>
                  </a:cubicBezTo>
                  <a:cubicBezTo>
                    <a:pt x="1050" y="2183"/>
                    <a:pt x="801" y="2055"/>
                    <a:pt x="744" y="2010"/>
                  </a:cubicBezTo>
                  <a:lnTo>
                    <a:pt x="679" y="1959"/>
                  </a:lnTo>
                  <a:lnTo>
                    <a:pt x="634" y="1990"/>
                  </a:lnTo>
                  <a:cubicBezTo>
                    <a:pt x="476" y="2099"/>
                    <a:pt x="261" y="2075"/>
                    <a:pt x="120" y="1934"/>
                  </a:cubicBezTo>
                  <a:cubicBezTo>
                    <a:pt x="27" y="1841"/>
                    <a:pt x="1" y="1780"/>
                    <a:pt x="1" y="1653"/>
                  </a:cubicBezTo>
                  <a:cubicBezTo>
                    <a:pt x="0" y="1566"/>
                    <a:pt x="6" y="1539"/>
                    <a:pt x="39" y="1469"/>
                  </a:cubicBezTo>
                  <a:cubicBezTo>
                    <a:pt x="112" y="1317"/>
                    <a:pt x="258" y="1234"/>
                    <a:pt x="433" y="1246"/>
                  </a:cubicBezTo>
                  <a:cubicBezTo>
                    <a:pt x="547" y="1253"/>
                    <a:pt x="610" y="1282"/>
                    <a:pt x="694" y="1366"/>
                  </a:cubicBezTo>
                  <a:cubicBezTo>
                    <a:pt x="780" y="1451"/>
                    <a:pt x="820" y="1551"/>
                    <a:pt x="814" y="1668"/>
                  </a:cubicBezTo>
                  <a:cubicBezTo>
                    <a:pt x="809" y="1763"/>
                    <a:pt x="806" y="1759"/>
                    <a:pt x="943" y="1794"/>
                  </a:cubicBezTo>
                  <a:cubicBezTo>
                    <a:pt x="1011" y="1811"/>
                    <a:pt x="1044" y="1814"/>
                    <a:pt x="1059" y="1805"/>
                  </a:cubicBezTo>
                  <a:cubicBezTo>
                    <a:pt x="1071" y="1797"/>
                    <a:pt x="1128" y="1725"/>
                    <a:pt x="1187" y="1643"/>
                  </a:cubicBezTo>
                  <a:cubicBezTo>
                    <a:pt x="1262" y="1539"/>
                    <a:pt x="1298" y="1476"/>
                    <a:pt x="1309" y="1431"/>
                  </a:cubicBezTo>
                  <a:cubicBezTo>
                    <a:pt x="1339" y="1307"/>
                    <a:pt x="1373" y="1228"/>
                    <a:pt x="1432" y="1139"/>
                  </a:cubicBezTo>
                  <a:cubicBezTo>
                    <a:pt x="1508" y="1023"/>
                    <a:pt x="1546" y="998"/>
                    <a:pt x="1659" y="982"/>
                  </a:cubicBezTo>
                  <a:cubicBezTo>
                    <a:pt x="1722" y="973"/>
                    <a:pt x="1771" y="957"/>
                    <a:pt x="1813" y="931"/>
                  </a:cubicBezTo>
                  <a:cubicBezTo>
                    <a:pt x="1847" y="910"/>
                    <a:pt x="1879" y="893"/>
                    <a:pt x="1885" y="893"/>
                  </a:cubicBezTo>
                  <a:cubicBezTo>
                    <a:pt x="1891" y="893"/>
                    <a:pt x="1917" y="883"/>
                    <a:pt x="1944" y="871"/>
                  </a:cubicBezTo>
                  <a:cubicBezTo>
                    <a:pt x="2000" y="844"/>
                    <a:pt x="2008" y="821"/>
                    <a:pt x="2008" y="678"/>
                  </a:cubicBezTo>
                  <a:cubicBezTo>
                    <a:pt x="2008" y="620"/>
                    <a:pt x="2002" y="582"/>
                    <a:pt x="1994" y="582"/>
                  </a:cubicBezTo>
                  <a:cubicBezTo>
                    <a:pt x="1987" y="582"/>
                    <a:pt x="1966" y="568"/>
                    <a:pt x="1949" y="551"/>
                  </a:cubicBezTo>
                  <a:cubicBezTo>
                    <a:pt x="1907" y="509"/>
                    <a:pt x="1905" y="426"/>
                    <a:pt x="1943" y="388"/>
                  </a:cubicBezTo>
                  <a:cubicBezTo>
                    <a:pt x="1958" y="373"/>
                    <a:pt x="1966" y="356"/>
                    <a:pt x="1962" y="349"/>
                  </a:cubicBezTo>
                  <a:cubicBezTo>
                    <a:pt x="1945" y="322"/>
                    <a:pt x="1984" y="192"/>
                    <a:pt x="2021" y="150"/>
                  </a:cubicBezTo>
                  <a:cubicBezTo>
                    <a:pt x="2112" y="46"/>
                    <a:pt x="2277" y="0"/>
                    <a:pt x="2387" y="49"/>
                  </a:cubicBezTo>
                  <a:cubicBezTo>
                    <a:pt x="2453" y="78"/>
                    <a:pt x="2516" y="161"/>
                    <a:pt x="2538" y="246"/>
                  </a:cubicBezTo>
                  <a:cubicBezTo>
                    <a:pt x="2556" y="317"/>
                    <a:pt x="2535" y="621"/>
                    <a:pt x="2511" y="639"/>
                  </a:cubicBezTo>
                  <a:cubicBezTo>
                    <a:pt x="2485" y="658"/>
                    <a:pt x="2448" y="730"/>
                    <a:pt x="2448" y="761"/>
                  </a:cubicBezTo>
                  <a:cubicBezTo>
                    <a:pt x="2448" y="778"/>
                    <a:pt x="2464" y="791"/>
                    <a:pt x="2503" y="803"/>
                  </a:cubicBezTo>
                  <a:cubicBezTo>
                    <a:pt x="2533" y="813"/>
                    <a:pt x="2568" y="822"/>
                    <a:pt x="2581" y="823"/>
                  </a:cubicBezTo>
                  <a:cubicBezTo>
                    <a:pt x="2593" y="824"/>
                    <a:pt x="2614" y="835"/>
                    <a:pt x="2627" y="846"/>
                  </a:cubicBezTo>
                  <a:cubicBezTo>
                    <a:pt x="2640" y="858"/>
                    <a:pt x="2666" y="867"/>
                    <a:pt x="2684" y="867"/>
                  </a:cubicBezTo>
                  <a:cubicBezTo>
                    <a:pt x="2703" y="867"/>
                    <a:pt x="2722" y="873"/>
                    <a:pt x="2726" y="880"/>
                  </a:cubicBezTo>
                  <a:cubicBezTo>
                    <a:pt x="2731" y="887"/>
                    <a:pt x="2744" y="893"/>
                    <a:pt x="2757" y="893"/>
                  </a:cubicBezTo>
                  <a:cubicBezTo>
                    <a:pt x="2769" y="893"/>
                    <a:pt x="2800" y="914"/>
                    <a:pt x="2824" y="940"/>
                  </a:cubicBezTo>
                  <a:cubicBezTo>
                    <a:pt x="2849" y="965"/>
                    <a:pt x="2889" y="997"/>
                    <a:pt x="2915" y="1010"/>
                  </a:cubicBezTo>
                  <a:cubicBezTo>
                    <a:pt x="3008" y="1058"/>
                    <a:pt x="3089" y="1163"/>
                    <a:pt x="3120" y="1276"/>
                  </a:cubicBezTo>
                  <a:cubicBezTo>
                    <a:pt x="3127" y="1304"/>
                    <a:pt x="3165" y="1377"/>
                    <a:pt x="3203" y="1437"/>
                  </a:cubicBezTo>
                  <a:cubicBezTo>
                    <a:pt x="3240" y="1498"/>
                    <a:pt x="3287" y="1584"/>
                    <a:pt x="3307" y="1630"/>
                  </a:cubicBezTo>
                  <a:cubicBezTo>
                    <a:pt x="3326" y="1675"/>
                    <a:pt x="3354" y="1727"/>
                    <a:pt x="3368" y="1745"/>
                  </a:cubicBezTo>
                  <a:cubicBezTo>
                    <a:pt x="3382" y="1763"/>
                    <a:pt x="3393" y="1787"/>
                    <a:pt x="3393" y="1799"/>
                  </a:cubicBezTo>
                  <a:cubicBezTo>
                    <a:pt x="3393" y="1811"/>
                    <a:pt x="3402" y="1832"/>
                    <a:pt x="3412" y="1846"/>
                  </a:cubicBezTo>
                  <a:cubicBezTo>
                    <a:pt x="3441" y="1884"/>
                    <a:pt x="3438" y="2026"/>
                    <a:pt x="3407" y="2077"/>
                  </a:cubicBezTo>
                  <a:cubicBezTo>
                    <a:pt x="3366" y="2143"/>
                    <a:pt x="3223" y="2242"/>
                    <a:pt x="3117" y="2278"/>
                  </a:cubicBezTo>
                  <a:cubicBezTo>
                    <a:pt x="3052" y="2300"/>
                    <a:pt x="3051" y="2302"/>
                    <a:pt x="3012" y="2399"/>
                  </a:cubicBezTo>
                  <a:cubicBezTo>
                    <a:pt x="2990" y="2453"/>
                    <a:pt x="2965" y="2505"/>
                    <a:pt x="2956" y="2514"/>
                  </a:cubicBezTo>
                  <a:cubicBezTo>
                    <a:pt x="2937" y="2533"/>
                    <a:pt x="2934" y="2636"/>
                    <a:pt x="2952" y="2647"/>
                  </a:cubicBezTo>
                  <a:cubicBezTo>
                    <a:pt x="2969" y="2658"/>
                    <a:pt x="3027" y="2841"/>
                    <a:pt x="3043" y="2933"/>
                  </a:cubicBezTo>
                  <a:cubicBezTo>
                    <a:pt x="3066" y="3067"/>
                    <a:pt x="3077" y="3113"/>
                    <a:pt x="3095" y="3146"/>
                  </a:cubicBezTo>
                  <a:cubicBezTo>
                    <a:pt x="3119" y="3191"/>
                    <a:pt x="3103" y="3400"/>
                    <a:pt x="3067" y="3494"/>
                  </a:cubicBezTo>
                  <a:cubicBezTo>
                    <a:pt x="3049" y="3542"/>
                    <a:pt x="3036" y="3617"/>
                    <a:pt x="3030" y="3710"/>
                  </a:cubicBezTo>
                  <a:cubicBezTo>
                    <a:pt x="3025" y="3788"/>
                    <a:pt x="3016" y="3894"/>
                    <a:pt x="3011" y="3946"/>
                  </a:cubicBezTo>
                  <a:cubicBezTo>
                    <a:pt x="3002" y="4034"/>
                    <a:pt x="3003" y="4040"/>
                    <a:pt x="3027" y="4040"/>
                  </a:cubicBezTo>
                  <a:cubicBezTo>
                    <a:pt x="3067" y="4040"/>
                    <a:pt x="3107" y="3986"/>
                    <a:pt x="3121" y="3911"/>
                  </a:cubicBezTo>
                  <a:cubicBezTo>
                    <a:pt x="3128" y="3873"/>
                    <a:pt x="3134" y="3841"/>
                    <a:pt x="3134" y="3839"/>
                  </a:cubicBezTo>
                  <a:cubicBezTo>
                    <a:pt x="3134" y="3837"/>
                    <a:pt x="3154" y="3823"/>
                    <a:pt x="3178" y="3808"/>
                  </a:cubicBezTo>
                  <a:cubicBezTo>
                    <a:pt x="3305" y="3729"/>
                    <a:pt x="3458" y="3848"/>
                    <a:pt x="3458" y="4026"/>
                  </a:cubicBezTo>
                  <a:cubicBezTo>
                    <a:pt x="3458" y="4105"/>
                    <a:pt x="3482" y="4169"/>
                    <a:pt x="3535" y="4229"/>
                  </a:cubicBezTo>
                  <a:cubicBezTo>
                    <a:pt x="3597" y="4300"/>
                    <a:pt x="3619" y="4397"/>
                    <a:pt x="3602" y="4528"/>
                  </a:cubicBezTo>
                  <a:cubicBezTo>
                    <a:pt x="3578" y="4715"/>
                    <a:pt x="3513" y="4817"/>
                    <a:pt x="3419" y="4817"/>
                  </a:cubicBezTo>
                  <a:cubicBezTo>
                    <a:pt x="3345" y="4817"/>
                    <a:pt x="3302" y="4758"/>
                    <a:pt x="3258" y="4598"/>
                  </a:cubicBezTo>
                  <a:cubicBezTo>
                    <a:pt x="3231" y="4501"/>
                    <a:pt x="3185" y="4422"/>
                    <a:pt x="3150" y="4413"/>
                  </a:cubicBezTo>
                  <a:cubicBezTo>
                    <a:pt x="3132" y="4408"/>
                    <a:pt x="3114" y="4419"/>
                    <a:pt x="3090" y="4450"/>
                  </a:cubicBezTo>
                  <a:cubicBezTo>
                    <a:pt x="3071" y="4474"/>
                    <a:pt x="3033" y="4505"/>
                    <a:pt x="3006" y="4518"/>
                  </a:cubicBezTo>
                  <a:cubicBezTo>
                    <a:pt x="2979" y="4532"/>
                    <a:pt x="2923" y="4566"/>
                    <a:pt x="2881" y="4594"/>
                  </a:cubicBezTo>
                  <a:cubicBezTo>
                    <a:pt x="2838" y="4622"/>
                    <a:pt x="2785" y="4649"/>
                    <a:pt x="2762" y="4654"/>
                  </a:cubicBezTo>
                  <a:cubicBezTo>
                    <a:pt x="2724" y="4663"/>
                    <a:pt x="2711" y="4656"/>
                    <a:pt x="2625" y="4585"/>
                  </a:cubicBezTo>
                  <a:cubicBezTo>
                    <a:pt x="2530" y="4506"/>
                    <a:pt x="2500" y="4465"/>
                    <a:pt x="2499" y="4412"/>
                  </a:cubicBezTo>
                  <a:cubicBezTo>
                    <a:pt x="2499" y="4396"/>
                    <a:pt x="2490" y="4369"/>
                    <a:pt x="2480" y="4351"/>
                  </a:cubicBezTo>
                  <a:cubicBezTo>
                    <a:pt x="2470" y="4333"/>
                    <a:pt x="2461" y="4303"/>
                    <a:pt x="2461" y="4285"/>
                  </a:cubicBezTo>
                  <a:cubicBezTo>
                    <a:pt x="2461" y="4266"/>
                    <a:pt x="2450" y="4237"/>
                    <a:pt x="2437" y="4220"/>
                  </a:cubicBezTo>
                  <a:cubicBezTo>
                    <a:pt x="2423" y="4203"/>
                    <a:pt x="2409" y="4169"/>
                    <a:pt x="2406" y="4144"/>
                  </a:cubicBezTo>
                  <a:cubicBezTo>
                    <a:pt x="2384" y="3991"/>
                    <a:pt x="2367" y="3942"/>
                    <a:pt x="2327" y="3908"/>
                  </a:cubicBezTo>
                  <a:cubicBezTo>
                    <a:pt x="2304" y="3888"/>
                    <a:pt x="2282" y="3872"/>
                    <a:pt x="2278" y="3872"/>
                  </a:cubicBezTo>
                  <a:cubicBezTo>
                    <a:pt x="2274" y="3872"/>
                    <a:pt x="2246" y="3921"/>
                    <a:pt x="2216" y="3982"/>
                  </a:cubicBezTo>
                  <a:cubicBezTo>
                    <a:pt x="2185" y="4042"/>
                    <a:pt x="2148" y="4102"/>
                    <a:pt x="2131" y="4115"/>
                  </a:cubicBezTo>
                  <a:cubicBezTo>
                    <a:pt x="2114" y="4129"/>
                    <a:pt x="2096" y="4165"/>
                    <a:pt x="2085" y="4207"/>
                  </a:cubicBezTo>
                  <a:cubicBezTo>
                    <a:pt x="2076" y="4246"/>
                    <a:pt x="2061" y="4292"/>
                    <a:pt x="2051" y="4311"/>
                  </a:cubicBezTo>
                  <a:cubicBezTo>
                    <a:pt x="2042" y="4329"/>
                    <a:pt x="2034" y="4355"/>
                    <a:pt x="2034" y="4369"/>
                  </a:cubicBezTo>
                  <a:cubicBezTo>
                    <a:pt x="2033" y="4383"/>
                    <a:pt x="2012" y="4432"/>
                    <a:pt x="1985" y="4479"/>
                  </a:cubicBezTo>
                  <a:cubicBezTo>
                    <a:pt x="1939" y="4561"/>
                    <a:pt x="1937" y="4569"/>
                    <a:pt x="1940" y="4675"/>
                  </a:cubicBezTo>
                  <a:cubicBezTo>
                    <a:pt x="1944" y="4862"/>
                    <a:pt x="1922" y="4990"/>
                    <a:pt x="1865" y="5108"/>
                  </a:cubicBezTo>
                  <a:cubicBezTo>
                    <a:pt x="1806" y="5230"/>
                    <a:pt x="1756" y="5433"/>
                    <a:pt x="1766" y="5512"/>
                  </a:cubicBezTo>
                  <a:cubicBezTo>
                    <a:pt x="1770" y="5541"/>
                    <a:pt x="1764" y="5611"/>
                    <a:pt x="1753" y="5667"/>
                  </a:cubicBezTo>
                  <a:cubicBezTo>
                    <a:pt x="1727" y="5793"/>
                    <a:pt x="1725" y="5897"/>
                    <a:pt x="1747" y="6015"/>
                  </a:cubicBezTo>
                  <a:cubicBezTo>
                    <a:pt x="1787" y="6226"/>
                    <a:pt x="1780" y="6247"/>
                    <a:pt x="1673" y="6261"/>
                  </a:cubicBezTo>
                  <a:cubicBezTo>
                    <a:pt x="1640" y="6266"/>
                    <a:pt x="1604" y="6271"/>
                    <a:pt x="1593" y="6273"/>
                  </a:cubicBezTo>
                  <a:cubicBezTo>
                    <a:pt x="1582" y="6275"/>
                    <a:pt x="1553" y="6273"/>
                    <a:pt x="1528" y="626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257"/>
            <p:cNvSpPr>
              <a:spLocks/>
            </p:cNvSpPr>
            <p:nvPr/>
          </p:nvSpPr>
          <p:spPr bwMode="auto">
            <a:xfrm>
              <a:off x="2918" y="1473"/>
              <a:ext cx="1703" cy="2941"/>
            </a:xfrm>
            <a:custGeom>
              <a:avLst/>
              <a:gdLst>
                <a:gd name="T0" fmla="*/ 1425 w 3631"/>
                <a:gd name="T1" fmla="*/ 6166 h 6261"/>
                <a:gd name="T2" fmla="*/ 1205 w 3631"/>
                <a:gd name="T3" fmla="*/ 5993 h 6261"/>
                <a:gd name="T4" fmla="*/ 1236 w 3631"/>
                <a:gd name="T5" fmla="*/ 5643 h 6261"/>
                <a:gd name="T6" fmla="*/ 1422 w 3631"/>
                <a:gd name="T7" fmla="*/ 5631 h 6261"/>
                <a:gd name="T8" fmla="*/ 1495 w 3631"/>
                <a:gd name="T9" fmla="*/ 5047 h 6261"/>
                <a:gd name="T10" fmla="*/ 1580 w 3631"/>
                <a:gd name="T11" fmla="*/ 4311 h 6261"/>
                <a:gd name="T12" fmla="*/ 1628 w 3631"/>
                <a:gd name="T13" fmla="*/ 4169 h 6261"/>
                <a:gd name="T14" fmla="*/ 1541 w 3631"/>
                <a:gd name="T15" fmla="*/ 3954 h 6261"/>
                <a:gd name="T16" fmla="*/ 1359 w 3631"/>
                <a:gd name="T17" fmla="*/ 3697 h 6261"/>
                <a:gd name="T18" fmla="*/ 1408 w 3631"/>
                <a:gd name="T19" fmla="*/ 3580 h 6261"/>
                <a:gd name="T20" fmla="*/ 1556 w 3631"/>
                <a:gd name="T21" fmla="*/ 3088 h 6261"/>
                <a:gd name="T22" fmla="*/ 1604 w 3631"/>
                <a:gd name="T23" fmla="*/ 3013 h 6261"/>
                <a:gd name="T24" fmla="*/ 1642 w 3631"/>
                <a:gd name="T25" fmla="*/ 2677 h 6261"/>
                <a:gd name="T26" fmla="*/ 1713 w 3631"/>
                <a:gd name="T27" fmla="*/ 2497 h 6261"/>
                <a:gd name="T28" fmla="*/ 1738 w 3631"/>
                <a:gd name="T29" fmla="*/ 2141 h 6261"/>
                <a:gd name="T30" fmla="*/ 1697 w 3631"/>
                <a:gd name="T31" fmla="*/ 1840 h 6261"/>
                <a:gd name="T32" fmla="*/ 1575 w 3631"/>
                <a:gd name="T33" fmla="*/ 1657 h 6261"/>
                <a:gd name="T34" fmla="*/ 1128 w 3631"/>
                <a:gd name="T35" fmla="*/ 2192 h 6261"/>
                <a:gd name="T36" fmla="*/ 680 w 3631"/>
                <a:gd name="T37" fmla="*/ 1944 h 6261"/>
                <a:gd name="T38" fmla="*/ 120 w 3631"/>
                <a:gd name="T39" fmla="*/ 1918 h 6261"/>
                <a:gd name="T40" fmla="*/ 38 w 3631"/>
                <a:gd name="T41" fmla="*/ 1455 h 6261"/>
                <a:gd name="T42" fmla="*/ 573 w 3631"/>
                <a:gd name="T43" fmla="*/ 1258 h 6261"/>
                <a:gd name="T44" fmla="*/ 811 w 3631"/>
                <a:gd name="T45" fmla="*/ 1633 h 6261"/>
                <a:gd name="T46" fmla="*/ 1060 w 3631"/>
                <a:gd name="T47" fmla="*/ 1788 h 6261"/>
                <a:gd name="T48" fmla="*/ 1322 w 3631"/>
                <a:gd name="T49" fmla="*/ 1374 h 6261"/>
                <a:gd name="T50" fmla="*/ 1674 w 3631"/>
                <a:gd name="T51" fmla="*/ 963 h 6261"/>
                <a:gd name="T52" fmla="*/ 1885 w 3631"/>
                <a:gd name="T53" fmla="*/ 877 h 6261"/>
                <a:gd name="T54" fmla="*/ 2008 w 3631"/>
                <a:gd name="T55" fmla="*/ 662 h 6261"/>
                <a:gd name="T56" fmla="*/ 1949 w 3631"/>
                <a:gd name="T57" fmla="*/ 535 h 6261"/>
                <a:gd name="T58" fmla="*/ 1963 w 3631"/>
                <a:gd name="T59" fmla="*/ 325 h 6261"/>
                <a:gd name="T60" fmla="*/ 2258 w 3631"/>
                <a:gd name="T61" fmla="*/ 14 h 6261"/>
                <a:gd name="T62" fmla="*/ 2510 w 3631"/>
                <a:gd name="T63" fmla="*/ 624 h 6261"/>
                <a:gd name="T64" fmla="*/ 2503 w 3631"/>
                <a:gd name="T65" fmla="*/ 787 h 6261"/>
                <a:gd name="T66" fmla="*/ 2627 w 3631"/>
                <a:gd name="T67" fmla="*/ 830 h 6261"/>
                <a:gd name="T68" fmla="*/ 2726 w 3631"/>
                <a:gd name="T69" fmla="*/ 864 h 6261"/>
                <a:gd name="T70" fmla="*/ 2824 w 3631"/>
                <a:gd name="T71" fmla="*/ 924 h 6261"/>
                <a:gd name="T72" fmla="*/ 3120 w 3631"/>
                <a:gd name="T73" fmla="*/ 1260 h 6261"/>
                <a:gd name="T74" fmla="*/ 3307 w 3631"/>
                <a:gd name="T75" fmla="*/ 1614 h 6261"/>
                <a:gd name="T76" fmla="*/ 3393 w 3631"/>
                <a:gd name="T77" fmla="*/ 1783 h 6261"/>
                <a:gd name="T78" fmla="*/ 3407 w 3631"/>
                <a:gd name="T79" fmla="*/ 2061 h 6261"/>
                <a:gd name="T80" fmla="*/ 3040 w 3631"/>
                <a:gd name="T81" fmla="*/ 2314 h 6261"/>
                <a:gd name="T82" fmla="*/ 2952 w 3631"/>
                <a:gd name="T83" fmla="*/ 2631 h 6261"/>
                <a:gd name="T84" fmla="*/ 3092 w 3631"/>
                <a:gd name="T85" fmla="*/ 3127 h 6261"/>
                <a:gd name="T86" fmla="*/ 3026 w 3631"/>
                <a:gd name="T87" fmla="*/ 3720 h 6261"/>
                <a:gd name="T88" fmla="*/ 3026 w 3631"/>
                <a:gd name="T89" fmla="*/ 4024 h 6261"/>
                <a:gd name="T90" fmla="*/ 3134 w 3631"/>
                <a:gd name="T91" fmla="*/ 3823 h 6261"/>
                <a:gd name="T92" fmla="*/ 3458 w 3631"/>
                <a:gd name="T93" fmla="*/ 4016 h 6261"/>
                <a:gd name="T94" fmla="*/ 3601 w 3631"/>
                <a:gd name="T95" fmla="*/ 4359 h 6261"/>
                <a:gd name="T96" fmla="*/ 3264 w 3631"/>
                <a:gd name="T97" fmla="*/ 4594 h 6261"/>
                <a:gd name="T98" fmla="*/ 3091 w 3631"/>
                <a:gd name="T99" fmla="*/ 4434 h 6261"/>
                <a:gd name="T100" fmla="*/ 2881 w 3631"/>
                <a:gd name="T101" fmla="*/ 4578 h 6261"/>
                <a:gd name="T102" fmla="*/ 2625 w 3631"/>
                <a:gd name="T103" fmla="*/ 4569 h 6261"/>
                <a:gd name="T104" fmla="*/ 2480 w 3631"/>
                <a:gd name="T105" fmla="*/ 4330 h 6261"/>
                <a:gd name="T106" fmla="*/ 2435 w 3631"/>
                <a:gd name="T107" fmla="*/ 4199 h 6261"/>
                <a:gd name="T108" fmla="*/ 2388 w 3631"/>
                <a:gd name="T109" fmla="*/ 4022 h 6261"/>
                <a:gd name="T110" fmla="*/ 2279 w 3631"/>
                <a:gd name="T111" fmla="*/ 3856 h 6261"/>
                <a:gd name="T112" fmla="*/ 2129 w 3631"/>
                <a:gd name="T113" fmla="*/ 4100 h 6261"/>
                <a:gd name="T114" fmla="*/ 2051 w 3631"/>
                <a:gd name="T115" fmla="*/ 4295 h 6261"/>
                <a:gd name="T116" fmla="*/ 1985 w 3631"/>
                <a:gd name="T117" fmla="*/ 4463 h 6261"/>
                <a:gd name="T118" fmla="*/ 1864 w 3631"/>
                <a:gd name="T119" fmla="*/ 5092 h 6261"/>
                <a:gd name="T120" fmla="*/ 1753 w 3631"/>
                <a:gd name="T121" fmla="*/ 5651 h 6261"/>
                <a:gd name="T122" fmla="*/ 1749 w 3631"/>
                <a:gd name="T123" fmla="*/ 6218 h 6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31" h="6261">
                  <a:moveTo>
                    <a:pt x="1474" y="6232"/>
                  </a:moveTo>
                  <a:cubicBezTo>
                    <a:pt x="1455" y="6221"/>
                    <a:pt x="1433" y="6193"/>
                    <a:pt x="1425" y="6166"/>
                  </a:cubicBezTo>
                  <a:cubicBezTo>
                    <a:pt x="1414" y="6134"/>
                    <a:pt x="1397" y="6115"/>
                    <a:pt x="1368" y="6103"/>
                  </a:cubicBezTo>
                  <a:cubicBezTo>
                    <a:pt x="1238" y="6048"/>
                    <a:pt x="1231" y="6044"/>
                    <a:pt x="1205" y="5993"/>
                  </a:cubicBezTo>
                  <a:cubicBezTo>
                    <a:pt x="1186" y="5956"/>
                    <a:pt x="1179" y="5917"/>
                    <a:pt x="1179" y="5854"/>
                  </a:cubicBezTo>
                  <a:cubicBezTo>
                    <a:pt x="1179" y="5743"/>
                    <a:pt x="1196" y="5681"/>
                    <a:pt x="1236" y="5643"/>
                  </a:cubicBezTo>
                  <a:cubicBezTo>
                    <a:pt x="1265" y="5616"/>
                    <a:pt x="1276" y="5614"/>
                    <a:pt x="1345" y="5622"/>
                  </a:cubicBezTo>
                  <a:lnTo>
                    <a:pt x="1422" y="5631"/>
                  </a:lnTo>
                  <a:lnTo>
                    <a:pt x="1449" y="5587"/>
                  </a:lnTo>
                  <a:cubicBezTo>
                    <a:pt x="1485" y="5528"/>
                    <a:pt x="1488" y="5496"/>
                    <a:pt x="1495" y="5047"/>
                  </a:cubicBezTo>
                  <a:cubicBezTo>
                    <a:pt x="1501" y="4673"/>
                    <a:pt x="1502" y="4662"/>
                    <a:pt x="1541" y="4512"/>
                  </a:cubicBezTo>
                  <a:cubicBezTo>
                    <a:pt x="1562" y="4428"/>
                    <a:pt x="1580" y="4337"/>
                    <a:pt x="1580" y="4311"/>
                  </a:cubicBezTo>
                  <a:cubicBezTo>
                    <a:pt x="1580" y="4284"/>
                    <a:pt x="1591" y="4241"/>
                    <a:pt x="1604" y="4216"/>
                  </a:cubicBezTo>
                  <a:lnTo>
                    <a:pt x="1628" y="4169"/>
                  </a:lnTo>
                  <a:lnTo>
                    <a:pt x="1585" y="4083"/>
                  </a:lnTo>
                  <a:cubicBezTo>
                    <a:pt x="1561" y="4036"/>
                    <a:pt x="1541" y="3978"/>
                    <a:pt x="1541" y="3954"/>
                  </a:cubicBezTo>
                  <a:cubicBezTo>
                    <a:pt x="1541" y="3918"/>
                    <a:pt x="1533" y="3905"/>
                    <a:pt x="1490" y="3877"/>
                  </a:cubicBezTo>
                  <a:cubicBezTo>
                    <a:pt x="1433" y="3839"/>
                    <a:pt x="1385" y="3773"/>
                    <a:pt x="1359" y="3697"/>
                  </a:cubicBezTo>
                  <a:lnTo>
                    <a:pt x="1342" y="3648"/>
                  </a:lnTo>
                  <a:lnTo>
                    <a:pt x="1408" y="3580"/>
                  </a:lnTo>
                  <a:cubicBezTo>
                    <a:pt x="1494" y="3491"/>
                    <a:pt x="1502" y="3475"/>
                    <a:pt x="1487" y="3410"/>
                  </a:cubicBezTo>
                  <a:cubicBezTo>
                    <a:pt x="1465" y="3315"/>
                    <a:pt x="1507" y="3118"/>
                    <a:pt x="1556" y="3088"/>
                  </a:cubicBezTo>
                  <a:cubicBezTo>
                    <a:pt x="1569" y="3079"/>
                    <a:pt x="1580" y="3066"/>
                    <a:pt x="1580" y="3058"/>
                  </a:cubicBezTo>
                  <a:cubicBezTo>
                    <a:pt x="1580" y="3049"/>
                    <a:pt x="1591" y="3030"/>
                    <a:pt x="1604" y="3013"/>
                  </a:cubicBezTo>
                  <a:cubicBezTo>
                    <a:pt x="1623" y="2990"/>
                    <a:pt x="1626" y="2973"/>
                    <a:pt x="1618" y="2922"/>
                  </a:cubicBezTo>
                  <a:cubicBezTo>
                    <a:pt x="1608" y="2858"/>
                    <a:pt x="1620" y="2734"/>
                    <a:pt x="1642" y="2677"/>
                  </a:cubicBezTo>
                  <a:cubicBezTo>
                    <a:pt x="1649" y="2659"/>
                    <a:pt x="1668" y="2633"/>
                    <a:pt x="1684" y="2619"/>
                  </a:cubicBezTo>
                  <a:cubicBezTo>
                    <a:pt x="1729" y="2578"/>
                    <a:pt x="1738" y="2541"/>
                    <a:pt x="1713" y="2497"/>
                  </a:cubicBezTo>
                  <a:cubicBezTo>
                    <a:pt x="1691" y="2460"/>
                    <a:pt x="1691" y="2455"/>
                    <a:pt x="1716" y="2396"/>
                  </a:cubicBezTo>
                  <a:cubicBezTo>
                    <a:pt x="1739" y="2342"/>
                    <a:pt x="1742" y="2310"/>
                    <a:pt x="1738" y="2141"/>
                  </a:cubicBezTo>
                  <a:cubicBezTo>
                    <a:pt x="1735" y="1998"/>
                    <a:pt x="1730" y="1941"/>
                    <a:pt x="1716" y="1921"/>
                  </a:cubicBezTo>
                  <a:cubicBezTo>
                    <a:pt x="1705" y="1907"/>
                    <a:pt x="1697" y="1870"/>
                    <a:pt x="1697" y="1840"/>
                  </a:cubicBezTo>
                  <a:cubicBezTo>
                    <a:pt x="1697" y="1772"/>
                    <a:pt x="1664" y="1612"/>
                    <a:pt x="1640" y="1567"/>
                  </a:cubicBezTo>
                  <a:cubicBezTo>
                    <a:pt x="1623" y="1534"/>
                    <a:pt x="1622" y="1536"/>
                    <a:pt x="1575" y="1657"/>
                  </a:cubicBezTo>
                  <a:cubicBezTo>
                    <a:pt x="1510" y="1825"/>
                    <a:pt x="1324" y="2088"/>
                    <a:pt x="1224" y="2155"/>
                  </a:cubicBezTo>
                  <a:cubicBezTo>
                    <a:pt x="1176" y="2187"/>
                    <a:pt x="1147" y="2198"/>
                    <a:pt x="1128" y="2192"/>
                  </a:cubicBezTo>
                  <a:cubicBezTo>
                    <a:pt x="1050" y="2167"/>
                    <a:pt x="801" y="2039"/>
                    <a:pt x="745" y="1995"/>
                  </a:cubicBezTo>
                  <a:lnTo>
                    <a:pt x="680" y="1944"/>
                  </a:lnTo>
                  <a:lnTo>
                    <a:pt x="624" y="1980"/>
                  </a:lnTo>
                  <a:cubicBezTo>
                    <a:pt x="463" y="2082"/>
                    <a:pt x="259" y="2057"/>
                    <a:pt x="120" y="1918"/>
                  </a:cubicBezTo>
                  <a:cubicBezTo>
                    <a:pt x="27" y="1825"/>
                    <a:pt x="1" y="1764"/>
                    <a:pt x="1" y="1637"/>
                  </a:cubicBezTo>
                  <a:cubicBezTo>
                    <a:pt x="0" y="1550"/>
                    <a:pt x="6" y="1523"/>
                    <a:pt x="38" y="1455"/>
                  </a:cubicBezTo>
                  <a:cubicBezTo>
                    <a:pt x="83" y="1362"/>
                    <a:pt x="160" y="1292"/>
                    <a:pt x="262" y="1252"/>
                  </a:cubicBezTo>
                  <a:cubicBezTo>
                    <a:pt x="345" y="1218"/>
                    <a:pt x="496" y="1222"/>
                    <a:pt x="573" y="1258"/>
                  </a:cubicBezTo>
                  <a:cubicBezTo>
                    <a:pt x="652" y="1296"/>
                    <a:pt x="734" y="1378"/>
                    <a:pt x="773" y="1457"/>
                  </a:cubicBezTo>
                  <a:cubicBezTo>
                    <a:pt x="803" y="1518"/>
                    <a:pt x="810" y="1550"/>
                    <a:pt x="811" y="1633"/>
                  </a:cubicBezTo>
                  <a:cubicBezTo>
                    <a:pt x="813" y="1701"/>
                    <a:pt x="819" y="1738"/>
                    <a:pt x="830" y="1745"/>
                  </a:cubicBezTo>
                  <a:cubicBezTo>
                    <a:pt x="869" y="1769"/>
                    <a:pt x="1039" y="1801"/>
                    <a:pt x="1060" y="1788"/>
                  </a:cubicBezTo>
                  <a:cubicBezTo>
                    <a:pt x="1071" y="1781"/>
                    <a:pt x="1129" y="1708"/>
                    <a:pt x="1188" y="1625"/>
                  </a:cubicBezTo>
                  <a:cubicBezTo>
                    <a:pt x="1281" y="1495"/>
                    <a:pt x="1299" y="1461"/>
                    <a:pt x="1322" y="1374"/>
                  </a:cubicBezTo>
                  <a:cubicBezTo>
                    <a:pt x="1364" y="1205"/>
                    <a:pt x="1466" y="1039"/>
                    <a:pt x="1553" y="995"/>
                  </a:cubicBezTo>
                  <a:cubicBezTo>
                    <a:pt x="1578" y="982"/>
                    <a:pt x="1633" y="968"/>
                    <a:pt x="1674" y="963"/>
                  </a:cubicBezTo>
                  <a:cubicBezTo>
                    <a:pt x="1723" y="958"/>
                    <a:pt x="1770" y="941"/>
                    <a:pt x="1811" y="916"/>
                  </a:cubicBezTo>
                  <a:cubicBezTo>
                    <a:pt x="1846" y="895"/>
                    <a:pt x="1879" y="877"/>
                    <a:pt x="1885" y="877"/>
                  </a:cubicBezTo>
                  <a:cubicBezTo>
                    <a:pt x="1891" y="877"/>
                    <a:pt x="1917" y="867"/>
                    <a:pt x="1944" y="855"/>
                  </a:cubicBezTo>
                  <a:cubicBezTo>
                    <a:pt x="2000" y="828"/>
                    <a:pt x="2008" y="805"/>
                    <a:pt x="2008" y="662"/>
                  </a:cubicBezTo>
                  <a:cubicBezTo>
                    <a:pt x="2008" y="604"/>
                    <a:pt x="2002" y="566"/>
                    <a:pt x="1994" y="566"/>
                  </a:cubicBezTo>
                  <a:cubicBezTo>
                    <a:pt x="1987" y="566"/>
                    <a:pt x="1966" y="552"/>
                    <a:pt x="1949" y="535"/>
                  </a:cubicBezTo>
                  <a:cubicBezTo>
                    <a:pt x="1907" y="493"/>
                    <a:pt x="1905" y="410"/>
                    <a:pt x="1944" y="371"/>
                  </a:cubicBezTo>
                  <a:cubicBezTo>
                    <a:pt x="1959" y="356"/>
                    <a:pt x="1967" y="336"/>
                    <a:pt x="1963" y="325"/>
                  </a:cubicBezTo>
                  <a:cubicBezTo>
                    <a:pt x="1950" y="290"/>
                    <a:pt x="1984" y="176"/>
                    <a:pt x="2021" y="134"/>
                  </a:cubicBezTo>
                  <a:cubicBezTo>
                    <a:pt x="2073" y="75"/>
                    <a:pt x="2177" y="22"/>
                    <a:pt x="2258" y="14"/>
                  </a:cubicBezTo>
                  <a:cubicBezTo>
                    <a:pt x="2389" y="0"/>
                    <a:pt x="2501" y="86"/>
                    <a:pt x="2538" y="230"/>
                  </a:cubicBezTo>
                  <a:cubicBezTo>
                    <a:pt x="2556" y="299"/>
                    <a:pt x="2534" y="606"/>
                    <a:pt x="2510" y="624"/>
                  </a:cubicBezTo>
                  <a:cubicBezTo>
                    <a:pt x="2485" y="642"/>
                    <a:pt x="2448" y="714"/>
                    <a:pt x="2448" y="745"/>
                  </a:cubicBezTo>
                  <a:cubicBezTo>
                    <a:pt x="2448" y="762"/>
                    <a:pt x="2464" y="775"/>
                    <a:pt x="2503" y="787"/>
                  </a:cubicBezTo>
                  <a:cubicBezTo>
                    <a:pt x="2533" y="797"/>
                    <a:pt x="2568" y="806"/>
                    <a:pt x="2581" y="807"/>
                  </a:cubicBezTo>
                  <a:cubicBezTo>
                    <a:pt x="2593" y="808"/>
                    <a:pt x="2614" y="819"/>
                    <a:pt x="2627" y="830"/>
                  </a:cubicBezTo>
                  <a:cubicBezTo>
                    <a:pt x="2640" y="842"/>
                    <a:pt x="2666" y="851"/>
                    <a:pt x="2684" y="851"/>
                  </a:cubicBezTo>
                  <a:cubicBezTo>
                    <a:pt x="2703" y="851"/>
                    <a:pt x="2722" y="857"/>
                    <a:pt x="2726" y="864"/>
                  </a:cubicBezTo>
                  <a:cubicBezTo>
                    <a:pt x="2731" y="871"/>
                    <a:pt x="2744" y="877"/>
                    <a:pt x="2757" y="877"/>
                  </a:cubicBezTo>
                  <a:cubicBezTo>
                    <a:pt x="2769" y="877"/>
                    <a:pt x="2800" y="898"/>
                    <a:pt x="2824" y="924"/>
                  </a:cubicBezTo>
                  <a:cubicBezTo>
                    <a:pt x="2849" y="949"/>
                    <a:pt x="2886" y="979"/>
                    <a:pt x="2908" y="990"/>
                  </a:cubicBezTo>
                  <a:cubicBezTo>
                    <a:pt x="3002" y="1038"/>
                    <a:pt x="3090" y="1149"/>
                    <a:pt x="3120" y="1260"/>
                  </a:cubicBezTo>
                  <a:cubicBezTo>
                    <a:pt x="3127" y="1288"/>
                    <a:pt x="3165" y="1361"/>
                    <a:pt x="3203" y="1421"/>
                  </a:cubicBezTo>
                  <a:cubicBezTo>
                    <a:pt x="3240" y="1482"/>
                    <a:pt x="3287" y="1568"/>
                    <a:pt x="3307" y="1614"/>
                  </a:cubicBezTo>
                  <a:cubicBezTo>
                    <a:pt x="3326" y="1659"/>
                    <a:pt x="3354" y="1711"/>
                    <a:pt x="3368" y="1729"/>
                  </a:cubicBezTo>
                  <a:cubicBezTo>
                    <a:pt x="3382" y="1747"/>
                    <a:pt x="3393" y="1771"/>
                    <a:pt x="3393" y="1783"/>
                  </a:cubicBezTo>
                  <a:cubicBezTo>
                    <a:pt x="3393" y="1795"/>
                    <a:pt x="3402" y="1816"/>
                    <a:pt x="3412" y="1830"/>
                  </a:cubicBezTo>
                  <a:cubicBezTo>
                    <a:pt x="3441" y="1868"/>
                    <a:pt x="3438" y="2010"/>
                    <a:pt x="3407" y="2061"/>
                  </a:cubicBezTo>
                  <a:cubicBezTo>
                    <a:pt x="3365" y="2128"/>
                    <a:pt x="3210" y="2235"/>
                    <a:pt x="3110" y="2264"/>
                  </a:cubicBezTo>
                  <a:cubicBezTo>
                    <a:pt x="3070" y="2276"/>
                    <a:pt x="3050" y="2290"/>
                    <a:pt x="3040" y="2314"/>
                  </a:cubicBezTo>
                  <a:cubicBezTo>
                    <a:pt x="3033" y="2332"/>
                    <a:pt x="3008" y="2389"/>
                    <a:pt x="2984" y="2439"/>
                  </a:cubicBezTo>
                  <a:cubicBezTo>
                    <a:pt x="2941" y="2529"/>
                    <a:pt x="2927" y="2616"/>
                    <a:pt x="2952" y="2631"/>
                  </a:cubicBezTo>
                  <a:cubicBezTo>
                    <a:pt x="2967" y="2641"/>
                    <a:pt x="3027" y="2822"/>
                    <a:pt x="3037" y="2891"/>
                  </a:cubicBezTo>
                  <a:cubicBezTo>
                    <a:pt x="3051" y="2978"/>
                    <a:pt x="3072" y="3069"/>
                    <a:pt x="3092" y="3127"/>
                  </a:cubicBezTo>
                  <a:cubicBezTo>
                    <a:pt x="3118" y="3199"/>
                    <a:pt x="3105" y="3362"/>
                    <a:pt x="3064" y="3487"/>
                  </a:cubicBezTo>
                  <a:cubicBezTo>
                    <a:pt x="3044" y="3547"/>
                    <a:pt x="3031" y="3625"/>
                    <a:pt x="3026" y="3720"/>
                  </a:cubicBezTo>
                  <a:cubicBezTo>
                    <a:pt x="3021" y="3798"/>
                    <a:pt x="3014" y="3899"/>
                    <a:pt x="3009" y="3943"/>
                  </a:cubicBezTo>
                  <a:cubicBezTo>
                    <a:pt x="3002" y="4018"/>
                    <a:pt x="3003" y="4024"/>
                    <a:pt x="3026" y="4024"/>
                  </a:cubicBezTo>
                  <a:cubicBezTo>
                    <a:pt x="3067" y="4024"/>
                    <a:pt x="3107" y="3970"/>
                    <a:pt x="3121" y="3895"/>
                  </a:cubicBezTo>
                  <a:cubicBezTo>
                    <a:pt x="3128" y="3857"/>
                    <a:pt x="3134" y="3825"/>
                    <a:pt x="3134" y="3823"/>
                  </a:cubicBezTo>
                  <a:cubicBezTo>
                    <a:pt x="3134" y="3821"/>
                    <a:pt x="3154" y="3807"/>
                    <a:pt x="3178" y="3792"/>
                  </a:cubicBezTo>
                  <a:cubicBezTo>
                    <a:pt x="3308" y="3712"/>
                    <a:pt x="3458" y="3832"/>
                    <a:pt x="3458" y="4016"/>
                  </a:cubicBezTo>
                  <a:cubicBezTo>
                    <a:pt x="3458" y="4092"/>
                    <a:pt x="3494" y="4188"/>
                    <a:pt x="3531" y="4209"/>
                  </a:cubicBezTo>
                  <a:cubicBezTo>
                    <a:pt x="3557" y="4224"/>
                    <a:pt x="3585" y="4285"/>
                    <a:pt x="3601" y="4359"/>
                  </a:cubicBezTo>
                  <a:cubicBezTo>
                    <a:pt x="3631" y="4500"/>
                    <a:pt x="3565" y="4740"/>
                    <a:pt x="3483" y="4782"/>
                  </a:cubicBezTo>
                  <a:cubicBezTo>
                    <a:pt x="3379" y="4836"/>
                    <a:pt x="3304" y="4772"/>
                    <a:pt x="3264" y="4594"/>
                  </a:cubicBezTo>
                  <a:cubicBezTo>
                    <a:pt x="3244" y="4505"/>
                    <a:pt x="3193" y="4414"/>
                    <a:pt x="3156" y="4400"/>
                  </a:cubicBezTo>
                  <a:cubicBezTo>
                    <a:pt x="3133" y="4392"/>
                    <a:pt x="3121" y="4398"/>
                    <a:pt x="3091" y="4434"/>
                  </a:cubicBezTo>
                  <a:cubicBezTo>
                    <a:pt x="3071" y="4458"/>
                    <a:pt x="3032" y="4489"/>
                    <a:pt x="3006" y="4503"/>
                  </a:cubicBezTo>
                  <a:cubicBezTo>
                    <a:pt x="2979" y="4516"/>
                    <a:pt x="2923" y="4550"/>
                    <a:pt x="2881" y="4578"/>
                  </a:cubicBezTo>
                  <a:cubicBezTo>
                    <a:pt x="2838" y="4606"/>
                    <a:pt x="2785" y="4633"/>
                    <a:pt x="2762" y="4638"/>
                  </a:cubicBezTo>
                  <a:cubicBezTo>
                    <a:pt x="2724" y="4647"/>
                    <a:pt x="2711" y="4640"/>
                    <a:pt x="2625" y="4569"/>
                  </a:cubicBezTo>
                  <a:cubicBezTo>
                    <a:pt x="2529" y="4490"/>
                    <a:pt x="2500" y="4449"/>
                    <a:pt x="2500" y="4396"/>
                  </a:cubicBezTo>
                  <a:cubicBezTo>
                    <a:pt x="2499" y="4380"/>
                    <a:pt x="2491" y="4350"/>
                    <a:pt x="2480" y="4330"/>
                  </a:cubicBezTo>
                  <a:cubicBezTo>
                    <a:pt x="2469" y="4310"/>
                    <a:pt x="2461" y="4277"/>
                    <a:pt x="2461" y="4258"/>
                  </a:cubicBezTo>
                  <a:cubicBezTo>
                    <a:pt x="2461" y="4238"/>
                    <a:pt x="2449" y="4212"/>
                    <a:pt x="2435" y="4199"/>
                  </a:cubicBezTo>
                  <a:cubicBezTo>
                    <a:pt x="2421" y="4186"/>
                    <a:pt x="2409" y="4162"/>
                    <a:pt x="2409" y="4147"/>
                  </a:cubicBezTo>
                  <a:cubicBezTo>
                    <a:pt x="2409" y="4131"/>
                    <a:pt x="2399" y="4075"/>
                    <a:pt x="2388" y="4022"/>
                  </a:cubicBezTo>
                  <a:cubicBezTo>
                    <a:pt x="2371" y="3946"/>
                    <a:pt x="2358" y="3920"/>
                    <a:pt x="2326" y="3892"/>
                  </a:cubicBezTo>
                  <a:cubicBezTo>
                    <a:pt x="2304" y="3872"/>
                    <a:pt x="2283" y="3856"/>
                    <a:pt x="2279" y="3856"/>
                  </a:cubicBezTo>
                  <a:cubicBezTo>
                    <a:pt x="2275" y="3856"/>
                    <a:pt x="2245" y="3906"/>
                    <a:pt x="2214" y="3967"/>
                  </a:cubicBezTo>
                  <a:cubicBezTo>
                    <a:pt x="2182" y="4029"/>
                    <a:pt x="2144" y="4089"/>
                    <a:pt x="2129" y="4100"/>
                  </a:cubicBezTo>
                  <a:cubicBezTo>
                    <a:pt x="2114" y="4113"/>
                    <a:pt x="2095" y="4151"/>
                    <a:pt x="2085" y="4191"/>
                  </a:cubicBezTo>
                  <a:cubicBezTo>
                    <a:pt x="2076" y="4230"/>
                    <a:pt x="2061" y="4276"/>
                    <a:pt x="2051" y="4295"/>
                  </a:cubicBezTo>
                  <a:cubicBezTo>
                    <a:pt x="2042" y="4313"/>
                    <a:pt x="2034" y="4339"/>
                    <a:pt x="2034" y="4353"/>
                  </a:cubicBezTo>
                  <a:cubicBezTo>
                    <a:pt x="2033" y="4367"/>
                    <a:pt x="2012" y="4416"/>
                    <a:pt x="1985" y="4463"/>
                  </a:cubicBezTo>
                  <a:cubicBezTo>
                    <a:pt x="1939" y="4545"/>
                    <a:pt x="1937" y="4553"/>
                    <a:pt x="1940" y="4659"/>
                  </a:cubicBezTo>
                  <a:cubicBezTo>
                    <a:pt x="1944" y="4847"/>
                    <a:pt x="1922" y="4974"/>
                    <a:pt x="1864" y="5092"/>
                  </a:cubicBezTo>
                  <a:cubicBezTo>
                    <a:pt x="1805" y="5214"/>
                    <a:pt x="1756" y="5416"/>
                    <a:pt x="1766" y="5496"/>
                  </a:cubicBezTo>
                  <a:cubicBezTo>
                    <a:pt x="1770" y="5525"/>
                    <a:pt x="1764" y="5595"/>
                    <a:pt x="1753" y="5651"/>
                  </a:cubicBezTo>
                  <a:cubicBezTo>
                    <a:pt x="1727" y="5777"/>
                    <a:pt x="1725" y="5882"/>
                    <a:pt x="1747" y="5999"/>
                  </a:cubicBezTo>
                  <a:cubicBezTo>
                    <a:pt x="1779" y="6168"/>
                    <a:pt x="1779" y="6191"/>
                    <a:pt x="1749" y="6218"/>
                  </a:cubicBezTo>
                  <a:cubicBezTo>
                    <a:pt x="1712" y="6252"/>
                    <a:pt x="1526" y="6261"/>
                    <a:pt x="1474" y="62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258"/>
            <p:cNvSpPr>
              <a:spLocks/>
            </p:cNvSpPr>
            <p:nvPr/>
          </p:nvSpPr>
          <p:spPr bwMode="auto">
            <a:xfrm>
              <a:off x="2918" y="1463"/>
              <a:ext cx="1703" cy="2951"/>
            </a:xfrm>
            <a:custGeom>
              <a:avLst/>
              <a:gdLst>
                <a:gd name="T0" fmla="*/ 1428 w 3631"/>
                <a:gd name="T1" fmla="*/ 6192 h 6283"/>
                <a:gd name="T2" fmla="*/ 1205 w 3631"/>
                <a:gd name="T3" fmla="*/ 6015 h 6283"/>
                <a:gd name="T4" fmla="*/ 1349 w 3631"/>
                <a:gd name="T5" fmla="*/ 5641 h 6283"/>
                <a:gd name="T6" fmla="*/ 1460 w 3631"/>
                <a:gd name="T7" fmla="*/ 5587 h 6283"/>
                <a:gd name="T8" fmla="*/ 1535 w 3631"/>
                <a:gd name="T9" fmla="*/ 4564 h 6283"/>
                <a:gd name="T10" fmla="*/ 1612 w 3631"/>
                <a:gd name="T11" fmla="*/ 4220 h 6283"/>
                <a:gd name="T12" fmla="*/ 1541 w 3631"/>
                <a:gd name="T13" fmla="*/ 3977 h 6283"/>
                <a:gd name="T14" fmla="*/ 1347 w 3631"/>
                <a:gd name="T15" fmla="*/ 3680 h 6283"/>
                <a:gd name="T16" fmla="*/ 1488 w 3631"/>
                <a:gd name="T17" fmla="*/ 3429 h 6283"/>
                <a:gd name="T18" fmla="*/ 1580 w 3631"/>
                <a:gd name="T19" fmla="*/ 3082 h 6283"/>
                <a:gd name="T20" fmla="*/ 1618 w 3631"/>
                <a:gd name="T21" fmla="*/ 2938 h 6283"/>
                <a:gd name="T22" fmla="*/ 1620 w 3631"/>
                <a:gd name="T23" fmla="*/ 2817 h 6283"/>
                <a:gd name="T24" fmla="*/ 1713 w 3631"/>
                <a:gd name="T25" fmla="*/ 2519 h 6283"/>
                <a:gd name="T26" fmla="*/ 1742 w 3631"/>
                <a:gd name="T27" fmla="*/ 2151 h 6283"/>
                <a:gd name="T28" fmla="*/ 1697 w 3631"/>
                <a:gd name="T29" fmla="*/ 1842 h 6283"/>
                <a:gd name="T30" fmla="*/ 1612 w 3631"/>
                <a:gd name="T31" fmla="*/ 1579 h 6283"/>
                <a:gd name="T32" fmla="*/ 1213 w 3631"/>
                <a:gd name="T33" fmla="*/ 2183 h 6283"/>
                <a:gd name="T34" fmla="*/ 1083 w 3631"/>
                <a:gd name="T35" fmla="*/ 2193 h 6283"/>
                <a:gd name="T36" fmla="*/ 681 w 3631"/>
                <a:gd name="T37" fmla="*/ 1965 h 6283"/>
                <a:gd name="T38" fmla="*/ 82 w 3631"/>
                <a:gd name="T39" fmla="*/ 1899 h 6283"/>
                <a:gd name="T40" fmla="*/ 678 w 3631"/>
                <a:gd name="T41" fmla="*/ 1353 h 6283"/>
                <a:gd name="T42" fmla="*/ 813 w 3631"/>
                <a:gd name="T43" fmla="*/ 1760 h 6283"/>
                <a:gd name="T44" fmla="*/ 1117 w 3631"/>
                <a:gd name="T45" fmla="*/ 1747 h 6283"/>
                <a:gd name="T46" fmla="*/ 1433 w 3631"/>
                <a:gd name="T47" fmla="*/ 1149 h 6283"/>
                <a:gd name="T48" fmla="*/ 1790 w 3631"/>
                <a:gd name="T49" fmla="*/ 951 h 6283"/>
                <a:gd name="T50" fmla="*/ 2000 w 3631"/>
                <a:gd name="T51" fmla="*/ 828 h 6283"/>
                <a:gd name="T52" fmla="*/ 1949 w 3631"/>
                <a:gd name="T53" fmla="*/ 557 h 6283"/>
                <a:gd name="T54" fmla="*/ 1964 w 3631"/>
                <a:gd name="T55" fmla="*/ 349 h 6283"/>
                <a:gd name="T56" fmla="*/ 2123 w 3631"/>
                <a:gd name="T57" fmla="*/ 79 h 6283"/>
                <a:gd name="T58" fmla="*/ 2538 w 3631"/>
                <a:gd name="T59" fmla="*/ 461 h 6283"/>
                <a:gd name="T60" fmla="*/ 2445 w 3631"/>
                <a:gd name="T61" fmla="*/ 784 h 6283"/>
                <a:gd name="T62" fmla="*/ 2629 w 3631"/>
                <a:gd name="T63" fmla="*/ 854 h 6283"/>
                <a:gd name="T64" fmla="*/ 2726 w 3631"/>
                <a:gd name="T65" fmla="*/ 886 h 6283"/>
                <a:gd name="T66" fmla="*/ 2826 w 3631"/>
                <a:gd name="T67" fmla="*/ 949 h 6283"/>
                <a:gd name="T68" fmla="*/ 3102 w 3631"/>
                <a:gd name="T69" fmla="*/ 1236 h 6283"/>
                <a:gd name="T70" fmla="*/ 3301 w 3631"/>
                <a:gd name="T71" fmla="*/ 1624 h 6283"/>
                <a:gd name="T72" fmla="*/ 3393 w 3631"/>
                <a:gd name="T73" fmla="*/ 1809 h 6283"/>
                <a:gd name="T74" fmla="*/ 3410 w 3631"/>
                <a:gd name="T75" fmla="*/ 2074 h 6283"/>
                <a:gd name="T76" fmla="*/ 3016 w 3631"/>
                <a:gd name="T77" fmla="*/ 2393 h 6283"/>
                <a:gd name="T78" fmla="*/ 2957 w 3631"/>
                <a:gd name="T79" fmla="*/ 2667 h 6283"/>
                <a:gd name="T80" fmla="*/ 3092 w 3631"/>
                <a:gd name="T81" fmla="*/ 3149 h 6283"/>
                <a:gd name="T82" fmla="*/ 3030 w 3631"/>
                <a:gd name="T83" fmla="*/ 3691 h 6283"/>
                <a:gd name="T84" fmla="*/ 3021 w 3631"/>
                <a:gd name="T85" fmla="*/ 4046 h 6283"/>
                <a:gd name="T86" fmla="*/ 3195 w 3631"/>
                <a:gd name="T87" fmla="*/ 3806 h 6283"/>
                <a:gd name="T88" fmla="*/ 3458 w 3631"/>
                <a:gd name="T89" fmla="*/ 4043 h 6283"/>
                <a:gd name="T90" fmla="*/ 3601 w 3631"/>
                <a:gd name="T91" fmla="*/ 4382 h 6283"/>
                <a:gd name="T92" fmla="*/ 3264 w 3631"/>
                <a:gd name="T93" fmla="*/ 4616 h 6283"/>
                <a:gd name="T94" fmla="*/ 3091 w 3631"/>
                <a:gd name="T95" fmla="*/ 4453 h 6283"/>
                <a:gd name="T96" fmla="*/ 2875 w 3631"/>
                <a:gd name="T97" fmla="*/ 4603 h 6283"/>
                <a:gd name="T98" fmla="*/ 2500 w 3631"/>
                <a:gd name="T99" fmla="*/ 4414 h 6283"/>
                <a:gd name="T100" fmla="*/ 2461 w 3631"/>
                <a:gd name="T101" fmla="*/ 4284 h 6283"/>
                <a:gd name="T102" fmla="*/ 2409 w 3631"/>
                <a:gd name="T103" fmla="*/ 4169 h 6283"/>
                <a:gd name="T104" fmla="*/ 2321 w 3631"/>
                <a:gd name="T105" fmla="*/ 3909 h 6283"/>
                <a:gd name="T106" fmla="*/ 2219 w 3631"/>
                <a:gd name="T107" fmla="*/ 3980 h 6283"/>
                <a:gd name="T108" fmla="*/ 2085 w 3631"/>
                <a:gd name="T109" fmla="*/ 4214 h 6283"/>
                <a:gd name="T110" fmla="*/ 2034 w 3631"/>
                <a:gd name="T111" fmla="*/ 4375 h 6283"/>
                <a:gd name="T112" fmla="*/ 1939 w 3631"/>
                <a:gd name="T113" fmla="*/ 4570 h 6283"/>
                <a:gd name="T114" fmla="*/ 1846 w 3631"/>
                <a:gd name="T115" fmla="*/ 5153 h 6283"/>
                <a:gd name="T116" fmla="*/ 1753 w 3631"/>
                <a:gd name="T117" fmla="*/ 5673 h 6283"/>
                <a:gd name="T118" fmla="*/ 1749 w 3631"/>
                <a:gd name="T119" fmla="*/ 6240 h 6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31" h="6283">
                  <a:moveTo>
                    <a:pt x="1474" y="6254"/>
                  </a:moveTo>
                  <a:cubicBezTo>
                    <a:pt x="1453" y="6242"/>
                    <a:pt x="1434" y="6217"/>
                    <a:pt x="1428" y="6192"/>
                  </a:cubicBezTo>
                  <a:cubicBezTo>
                    <a:pt x="1417" y="6150"/>
                    <a:pt x="1399" y="6138"/>
                    <a:pt x="1280" y="6087"/>
                  </a:cubicBezTo>
                  <a:cubicBezTo>
                    <a:pt x="1247" y="6073"/>
                    <a:pt x="1223" y="6051"/>
                    <a:pt x="1205" y="6015"/>
                  </a:cubicBezTo>
                  <a:cubicBezTo>
                    <a:pt x="1155" y="5916"/>
                    <a:pt x="1178" y="5711"/>
                    <a:pt x="1247" y="5654"/>
                  </a:cubicBezTo>
                  <a:cubicBezTo>
                    <a:pt x="1260" y="5643"/>
                    <a:pt x="1296" y="5639"/>
                    <a:pt x="1349" y="5641"/>
                  </a:cubicBezTo>
                  <a:lnTo>
                    <a:pt x="1431" y="5645"/>
                  </a:lnTo>
                  <a:lnTo>
                    <a:pt x="1460" y="5587"/>
                  </a:lnTo>
                  <a:cubicBezTo>
                    <a:pt x="1487" y="5532"/>
                    <a:pt x="1489" y="5510"/>
                    <a:pt x="1490" y="5231"/>
                  </a:cubicBezTo>
                  <a:cubicBezTo>
                    <a:pt x="1493" y="4861"/>
                    <a:pt x="1507" y="4640"/>
                    <a:pt x="1535" y="4564"/>
                  </a:cubicBezTo>
                  <a:cubicBezTo>
                    <a:pt x="1546" y="4532"/>
                    <a:pt x="1564" y="4447"/>
                    <a:pt x="1575" y="4376"/>
                  </a:cubicBezTo>
                  <a:cubicBezTo>
                    <a:pt x="1586" y="4305"/>
                    <a:pt x="1602" y="4235"/>
                    <a:pt x="1612" y="4220"/>
                  </a:cubicBezTo>
                  <a:cubicBezTo>
                    <a:pt x="1627" y="4197"/>
                    <a:pt x="1624" y="4183"/>
                    <a:pt x="1585" y="4106"/>
                  </a:cubicBezTo>
                  <a:cubicBezTo>
                    <a:pt x="1561" y="4058"/>
                    <a:pt x="1541" y="4000"/>
                    <a:pt x="1541" y="3977"/>
                  </a:cubicBezTo>
                  <a:cubicBezTo>
                    <a:pt x="1541" y="3942"/>
                    <a:pt x="1532" y="3928"/>
                    <a:pt x="1486" y="3896"/>
                  </a:cubicBezTo>
                  <a:cubicBezTo>
                    <a:pt x="1433" y="3858"/>
                    <a:pt x="1347" y="3725"/>
                    <a:pt x="1347" y="3680"/>
                  </a:cubicBezTo>
                  <a:cubicBezTo>
                    <a:pt x="1347" y="3669"/>
                    <a:pt x="1371" y="3639"/>
                    <a:pt x="1399" y="3613"/>
                  </a:cubicBezTo>
                  <a:cubicBezTo>
                    <a:pt x="1482" y="3539"/>
                    <a:pt x="1501" y="3499"/>
                    <a:pt x="1488" y="3429"/>
                  </a:cubicBezTo>
                  <a:cubicBezTo>
                    <a:pt x="1468" y="3325"/>
                    <a:pt x="1514" y="3123"/>
                    <a:pt x="1560" y="3106"/>
                  </a:cubicBezTo>
                  <a:cubicBezTo>
                    <a:pt x="1571" y="3101"/>
                    <a:pt x="1580" y="3091"/>
                    <a:pt x="1580" y="3082"/>
                  </a:cubicBezTo>
                  <a:cubicBezTo>
                    <a:pt x="1580" y="3073"/>
                    <a:pt x="1591" y="3051"/>
                    <a:pt x="1605" y="3034"/>
                  </a:cubicBezTo>
                  <a:cubicBezTo>
                    <a:pt x="1626" y="3007"/>
                    <a:pt x="1628" y="2993"/>
                    <a:pt x="1618" y="2938"/>
                  </a:cubicBezTo>
                  <a:cubicBezTo>
                    <a:pt x="1611" y="2903"/>
                    <a:pt x="1610" y="2866"/>
                    <a:pt x="1614" y="2855"/>
                  </a:cubicBezTo>
                  <a:cubicBezTo>
                    <a:pt x="1619" y="2844"/>
                    <a:pt x="1622" y="2827"/>
                    <a:pt x="1620" y="2817"/>
                  </a:cubicBezTo>
                  <a:cubicBezTo>
                    <a:pt x="1613" y="2777"/>
                    <a:pt x="1649" y="2674"/>
                    <a:pt x="1680" y="2646"/>
                  </a:cubicBezTo>
                  <a:cubicBezTo>
                    <a:pt x="1729" y="2600"/>
                    <a:pt x="1739" y="2564"/>
                    <a:pt x="1713" y="2519"/>
                  </a:cubicBezTo>
                  <a:cubicBezTo>
                    <a:pt x="1692" y="2483"/>
                    <a:pt x="1692" y="2478"/>
                    <a:pt x="1721" y="2408"/>
                  </a:cubicBezTo>
                  <a:cubicBezTo>
                    <a:pt x="1750" y="2338"/>
                    <a:pt x="1751" y="2326"/>
                    <a:pt x="1742" y="2151"/>
                  </a:cubicBezTo>
                  <a:cubicBezTo>
                    <a:pt x="1736" y="2037"/>
                    <a:pt x="1726" y="1954"/>
                    <a:pt x="1715" y="1933"/>
                  </a:cubicBezTo>
                  <a:cubicBezTo>
                    <a:pt x="1705" y="1913"/>
                    <a:pt x="1697" y="1873"/>
                    <a:pt x="1697" y="1842"/>
                  </a:cubicBezTo>
                  <a:cubicBezTo>
                    <a:pt x="1696" y="1775"/>
                    <a:pt x="1665" y="1636"/>
                    <a:pt x="1639" y="1588"/>
                  </a:cubicBezTo>
                  <a:cubicBezTo>
                    <a:pt x="1622" y="1555"/>
                    <a:pt x="1620" y="1555"/>
                    <a:pt x="1612" y="1579"/>
                  </a:cubicBezTo>
                  <a:cubicBezTo>
                    <a:pt x="1554" y="1735"/>
                    <a:pt x="1513" y="1817"/>
                    <a:pt x="1441" y="1922"/>
                  </a:cubicBezTo>
                  <a:cubicBezTo>
                    <a:pt x="1314" y="2105"/>
                    <a:pt x="1284" y="2139"/>
                    <a:pt x="1213" y="2183"/>
                  </a:cubicBezTo>
                  <a:lnTo>
                    <a:pt x="1150" y="2222"/>
                  </a:lnTo>
                  <a:lnTo>
                    <a:pt x="1083" y="2193"/>
                  </a:lnTo>
                  <a:cubicBezTo>
                    <a:pt x="939" y="2131"/>
                    <a:pt x="806" y="2061"/>
                    <a:pt x="745" y="2014"/>
                  </a:cubicBezTo>
                  <a:lnTo>
                    <a:pt x="681" y="1965"/>
                  </a:lnTo>
                  <a:lnTo>
                    <a:pt x="621" y="2003"/>
                  </a:lnTo>
                  <a:cubicBezTo>
                    <a:pt x="447" y="2111"/>
                    <a:pt x="220" y="2068"/>
                    <a:pt x="82" y="1899"/>
                  </a:cubicBezTo>
                  <a:cubicBezTo>
                    <a:pt x="18" y="1821"/>
                    <a:pt x="1" y="1766"/>
                    <a:pt x="0" y="1646"/>
                  </a:cubicBezTo>
                  <a:cubicBezTo>
                    <a:pt x="0" y="1302"/>
                    <a:pt x="416" y="1123"/>
                    <a:pt x="678" y="1353"/>
                  </a:cubicBezTo>
                  <a:cubicBezTo>
                    <a:pt x="767" y="1431"/>
                    <a:pt x="809" y="1528"/>
                    <a:pt x="811" y="1657"/>
                  </a:cubicBezTo>
                  <a:lnTo>
                    <a:pt x="813" y="1760"/>
                  </a:lnTo>
                  <a:lnTo>
                    <a:pt x="902" y="1790"/>
                  </a:lnTo>
                  <a:cubicBezTo>
                    <a:pt x="1028" y="1832"/>
                    <a:pt x="1057" y="1826"/>
                    <a:pt x="1117" y="1747"/>
                  </a:cubicBezTo>
                  <a:cubicBezTo>
                    <a:pt x="1262" y="1557"/>
                    <a:pt x="1297" y="1495"/>
                    <a:pt x="1329" y="1376"/>
                  </a:cubicBezTo>
                  <a:cubicBezTo>
                    <a:pt x="1354" y="1284"/>
                    <a:pt x="1377" y="1233"/>
                    <a:pt x="1433" y="1149"/>
                  </a:cubicBezTo>
                  <a:cubicBezTo>
                    <a:pt x="1513" y="1028"/>
                    <a:pt x="1545" y="1006"/>
                    <a:pt x="1665" y="989"/>
                  </a:cubicBezTo>
                  <a:cubicBezTo>
                    <a:pt x="1710" y="982"/>
                    <a:pt x="1766" y="966"/>
                    <a:pt x="1790" y="951"/>
                  </a:cubicBezTo>
                  <a:cubicBezTo>
                    <a:pt x="1832" y="926"/>
                    <a:pt x="1848" y="918"/>
                    <a:pt x="1945" y="875"/>
                  </a:cubicBezTo>
                  <a:cubicBezTo>
                    <a:pt x="1972" y="863"/>
                    <a:pt x="1996" y="842"/>
                    <a:pt x="2000" y="828"/>
                  </a:cubicBezTo>
                  <a:cubicBezTo>
                    <a:pt x="2013" y="780"/>
                    <a:pt x="2008" y="588"/>
                    <a:pt x="1994" y="588"/>
                  </a:cubicBezTo>
                  <a:cubicBezTo>
                    <a:pt x="1987" y="588"/>
                    <a:pt x="1966" y="574"/>
                    <a:pt x="1949" y="557"/>
                  </a:cubicBezTo>
                  <a:cubicBezTo>
                    <a:pt x="1907" y="515"/>
                    <a:pt x="1905" y="433"/>
                    <a:pt x="1944" y="395"/>
                  </a:cubicBezTo>
                  <a:cubicBezTo>
                    <a:pt x="1961" y="380"/>
                    <a:pt x="1969" y="361"/>
                    <a:pt x="1964" y="349"/>
                  </a:cubicBezTo>
                  <a:cubicBezTo>
                    <a:pt x="1950" y="312"/>
                    <a:pt x="1983" y="199"/>
                    <a:pt x="2021" y="156"/>
                  </a:cubicBezTo>
                  <a:cubicBezTo>
                    <a:pt x="2041" y="133"/>
                    <a:pt x="2087" y="98"/>
                    <a:pt x="2123" y="79"/>
                  </a:cubicBezTo>
                  <a:cubicBezTo>
                    <a:pt x="2268" y="0"/>
                    <a:pt x="2412" y="26"/>
                    <a:pt x="2487" y="144"/>
                  </a:cubicBezTo>
                  <a:cubicBezTo>
                    <a:pt x="2544" y="235"/>
                    <a:pt x="2550" y="270"/>
                    <a:pt x="2538" y="461"/>
                  </a:cubicBezTo>
                  <a:cubicBezTo>
                    <a:pt x="2530" y="593"/>
                    <a:pt x="2523" y="636"/>
                    <a:pt x="2508" y="647"/>
                  </a:cubicBezTo>
                  <a:cubicBezTo>
                    <a:pt x="2482" y="666"/>
                    <a:pt x="2433" y="773"/>
                    <a:pt x="2445" y="784"/>
                  </a:cubicBezTo>
                  <a:cubicBezTo>
                    <a:pt x="2462" y="798"/>
                    <a:pt x="2565" y="834"/>
                    <a:pt x="2589" y="834"/>
                  </a:cubicBezTo>
                  <a:cubicBezTo>
                    <a:pt x="2602" y="834"/>
                    <a:pt x="2620" y="843"/>
                    <a:pt x="2629" y="854"/>
                  </a:cubicBezTo>
                  <a:cubicBezTo>
                    <a:pt x="2638" y="865"/>
                    <a:pt x="2662" y="873"/>
                    <a:pt x="2682" y="873"/>
                  </a:cubicBezTo>
                  <a:cubicBezTo>
                    <a:pt x="2702" y="873"/>
                    <a:pt x="2722" y="879"/>
                    <a:pt x="2726" y="886"/>
                  </a:cubicBezTo>
                  <a:cubicBezTo>
                    <a:pt x="2731" y="893"/>
                    <a:pt x="2745" y="899"/>
                    <a:pt x="2758" y="899"/>
                  </a:cubicBezTo>
                  <a:cubicBezTo>
                    <a:pt x="2771" y="899"/>
                    <a:pt x="2802" y="921"/>
                    <a:pt x="2826" y="949"/>
                  </a:cubicBezTo>
                  <a:cubicBezTo>
                    <a:pt x="2850" y="976"/>
                    <a:pt x="2889" y="1005"/>
                    <a:pt x="2911" y="1015"/>
                  </a:cubicBezTo>
                  <a:cubicBezTo>
                    <a:pt x="2977" y="1042"/>
                    <a:pt x="3075" y="1156"/>
                    <a:pt x="3102" y="1236"/>
                  </a:cubicBezTo>
                  <a:cubicBezTo>
                    <a:pt x="3131" y="1326"/>
                    <a:pt x="3150" y="1365"/>
                    <a:pt x="3218" y="1469"/>
                  </a:cubicBezTo>
                  <a:cubicBezTo>
                    <a:pt x="3248" y="1515"/>
                    <a:pt x="3285" y="1585"/>
                    <a:pt x="3301" y="1624"/>
                  </a:cubicBezTo>
                  <a:cubicBezTo>
                    <a:pt x="3318" y="1664"/>
                    <a:pt x="3345" y="1717"/>
                    <a:pt x="3362" y="1744"/>
                  </a:cubicBezTo>
                  <a:cubicBezTo>
                    <a:pt x="3379" y="1770"/>
                    <a:pt x="3393" y="1800"/>
                    <a:pt x="3393" y="1809"/>
                  </a:cubicBezTo>
                  <a:cubicBezTo>
                    <a:pt x="3393" y="1819"/>
                    <a:pt x="3402" y="1838"/>
                    <a:pt x="3412" y="1852"/>
                  </a:cubicBezTo>
                  <a:cubicBezTo>
                    <a:pt x="3439" y="1887"/>
                    <a:pt x="3438" y="2017"/>
                    <a:pt x="3410" y="2074"/>
                  </a:cubicBezTo>
                  <a:cubicBezTo>
                    <a:pt x="3384" y="2129"/>
                    <a:pt x="3230" y="2240"/>
                    <a:pt x="3124" y="2280"/>
                  </a:cubicBezTo>
                  <a:cubicBezTo>
                    <a:pt x="3053" y="2307"/>
                    <a:pt x="3050" y="2310"/>
                    <a:pt x="3016" y="2393"/>
                  </a:cubicBezTo>
                  <a:cubicBezTo>
                    <a:pt x="2997" y="2441"/>
                    <a:pt x="2972" y="2494"/>
                    <a:pt x="2961" y="2511"/>
                  </a:cubicBezTo>
                  <a:cubicBezTo>
                    <a:pt x="2935" y="2550"/>
                    <a:pt x="2934" y="2632"/>
                    <a:pt x="2957" y="2667"/>
                  </a:cubicBezTo>
                  <a:cubicBezTo>
                    <a:pt x="2979" y="2699"/>
                    <a:pt x="3026" y="2843"/>
                    <a:pt x="3037" y="2913"/>
                  </a:cubicBezTo>
                  <a:cubicBezTo>
                    <a:pt x="3053" y="3012"/>
                    <a:pt x="3072" y="3095"/>
                    <a:pt x="3092" y="3149"/>
                  </a:cubicBezTo>
                  <a:cubicBezTo>
                    <a:pt x="3118" y="3222"/>
                    <a:pt x="3105" y="3385"/>
                    <a:pt x="3062" y="3510"/>
                  </a:cubicBezTo>
                  <a:cubicBezTo>
                    <a:pt x="3041" y="3571"/>
                    <a:pt x="3030" y="3631"/>
                    <a:pt x="3030" y="3691"/>
                  </a:cubicBezTo>
                  <a:cubicBezTo>
                    <a:pt x="3030" y="3740"/>
                    <a:pt x="3022" y="3840"/>
                    <a:pt x="3013" y="3913"/>
                  </a:cubicBezTo>
                  <a:cubicBezTo>
                    <a:pt x="2998" y="4039"/>
                    <a:pt x="2998" y="4046"/>
                    <a:pt x="3021" y="4046"/>
                  </a:cubicBezTo>
                  <a:cubicBezTo>
                    <a:pt x="3068" y="4046"/>
                    <a:pt x="3106" y="4008"/>
                    <a:pt x="3115" y="3951"/>
                  </a:cubicBezTo>
                  <a:cubicBezTo>
                    <a:pt x="3128" y="3862"/>
                    <a:pt x="3147" y="3829"/>
                    <a:pt x="3195" y="3806"/>
                  </a:cubicBezTo>
                  <a:cubicBezTo>
                    <a:pt x="3247" y="3781"/>
                    <a:pt x="3309" y="3786"/>
                    <a:pt x="3359" y="3819"/>
                  </a:cubicBezTo>
                  <a:cubicBezTo>
                    <a:pt x="3410" y="3853"/>
                    <a:pt x="3458" y="3961"/>
                    <a:pt x="3458" y="4043"/>
                  </a:cubicBezTo>
                  <a:cubicBezTo>
                    <a:pt x="3458" y="4113"/>
                    <a:pt x="3495" y="4210"/>
                    <a:pt x="3531" y="4231"/>
                  </a:cubicBezTo>
                  <a:cubicBezTo>
                    <a:pt x="3557" y="4246"/>
                    <a:pt x="3585" y="4307"/>
                    <a:pt x="3601" y="4382"/>
                  </a:cubicBezTo>
                  <a:cubicBezTo>
                    <a:pt x="3631" y="4521"/>
                    <a:pt x="3564" y="4762"/>
                    <a:pt x="3483" y="4804"/>
                  </a:cubicBezTo>
                  <a:cubicBezTo>
                    <a:pt x="3379" y="4858"/>
                    <a:pt x="3304" y="4794"/>
                    <a:pt x="3264" y="4616"/>
                  </a:cubicBezTo>
                  <a:cubicBezTo>
                    <a:pt x="3245" y="4530"/>
                    <a:pt x="3196" y="4441"/>
                    <a:pt x="3157" y="4420"/>
                  </a:cubicBezTo>
                  <a:cubicBezTo>
                    <a:pt x="3133" y="4407"/>
                    <a:pt x="3125" y="4411"/>
                    <a:pt x="3091" y="4453"/>
                  </a:cubicBezTo>
                  <a:cubicBezTo>
                    <a:pt x="3070" y="4479"/>
                    <a:pt x="3029" y="4513"/>
                    <a:pt x="3000" y="4528"/>
                  </a:cubicBezTo>
                  <a:cubicBezTo>
                    <a:pt x="2970" y="4542"/>
                    <a:pt x="2914" y="4576"/>
                    <a:pt x="2875" y="4603"/>
                  </a:cubicBezTo>
                  <a:cubicBezTo>
                    <a:pt x="2779" y="4668"/>
                    <a:pt x="2735" y="4677"/>
                    <a:pt x="2687" y="4640"/>
                  </a:cubicBezTo>
                  <a:cubicBezTo>
                    <a:pt x="2551" y="4537"/>
                    <a:pt x="2500" y="4475"/>
                    <a:pt x="2500" y="4414"/>
                  </a:cubicBezTo>
                  <a:cubicBezTo>
                    <a:pt x="2500" y="4392"/>
                    <a:pt x="2491" y="4363"/>
                    <a:pt x="2481" y="4350"/>
                  </a:cubicBezTo>
                  <a:cubicBezTo>
                    <a:pt x="2470" y="4336"/>
                    <a:pt x="2461" y="4306"/>
                    <a:pt x="2461" y="4284"/>
                  </a:cubicBezTo>
                  <a:cubicBezTo>
                    <a:pt x="2461" y="4261"/>
                    <a:pt x="2450" y="4234"/>
                    <a:pt x="2435" y="4221"/>
                  </a:cubicBezTo>
                  <a:cubicBezTo>
                    <a:pt x="2421" y="4208"/>
                    <a:pt x="2409" y="4184"/>
                    <a:pt x="2409" y="4169"/>
                  </a:cubicBezTo>
                  <a:cubicBezTo>
                    <a:pt x="2409" y="4153"/>
                    <a:pt x="2400" y="4097"/>
                    <a:pt x="2388" y="4044"/>
                  </a:cubicBezTo>
                  <a:cubicBezTo>
                    <a:pt x="2370" y="3964"/>
                    <a:pt x="2360" y="3943"/>
                    <a:pt x="2321" y="3909"/>
                  </a:cubicBezTo>
                  <a:lnTo>
                    <a:pt x="2275" y="3869"/>
                  </a:lnTo>
                  <a:lnTo>
                    <a:pt x="2219" y="3980"/>
                  </a:lnTo>
                  <a:cubicBezTo>
                    <a:pt x="2188" y="4041"/>
                    <a:pt x="2149" y="4103"/>
                    <a:pt x="2132" y="4118"/>
                  </a:cubicBezTo>
                  <a:cubicBezTo>
                    <a:pt x="2114" y="4134"/>
                    <a:pt x="2095" y="4174"/>
                    <a:pt x="2085" y="4214"/>
                  </a:cubicBezTo>
                  <a:cubicBezTo>
                    <a:pt x="2076" y="4252"/>
                    <a:pt x="2061" y="4298"/>
                    <a:pt x="2051" y="4317"/>
                  </a:cubicBezTo>
                  <a:cubicBezTo>
                    <a:pt x="2042" y="4335"/>
                    <a:pt x="2034" y="4361"/>
                    <a:pt x="2034" y="4375"/>
                  </a:cubicBezTo>
                  <a:cubicBezTo>
                    <a:pt x="2033" y="4389"/>
                    <a:pt x="2012" y="4438"/>
                    <a:pt x="1986" y="4485"/>
                  </a:cubicBezTo>
                  <a:lnTo>
                    <a:pt x="1939" y="4570"/>
                  </a:lnTo>
                  <a:lnTo>
                    <a:pt x="1936" y="4752"/>
                  </a:lnTo>
                  <a:cubicBezTo>
                    <a:pt x="1932" y="4945"/>
                    <a:pt x="1911" y="5041"/>
                    <a:pt x="1846" y="5153"/>
                  </a:cubicBezTo>
                  <a:cubicBezTo>
                    <a:pt x="1805" y="5224"/>
                    <a:pt x="1756" y="5446"/>
                    <a:pt x="1766" y="5516"/>
                  </a:cubicBezTo>
                  <a:cubicBezTo>
                    <a:pt x="1770" y="5547"/>
                    <a:pt x="1765" y="5615"/>
                    <a:pt x="1753" y="5673"/>
                  </a:cubicBezTo>
                  <a:cubicBezTo>
                    <a:pt x="1727" y="5797"/>
                    <a:pt x="1726" y="5901"/>
                    <a:pt x="1747" y="6021"/>
                  </a:cubicBezTo>
                  <a:cubicBezTo>
                    <a:pt x="1779" y="6201"/>
                    <a:pt x="1779" y="6213"/>
                    <a:pt x="1749" y="6240"/>
                  </a:cubicBezTo>
                  <a:cubicBezTo>
                    <a:pt x="1712" y="6274"/>
                    <a:pt x="1526" y="6283"/>
                    <a:pt x="1474" y="625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259"/>
            <p:cNvSpPr>
              <a:spLocks/>
            </p:cNvSpPr>
            <p:nvPr/>
          </p:nvSpPr>
          <p:spPr bwMode="auto">
            <a:xfrm>
              <a:off x="2915" y="1461"/>
              <a:ext cx="1706" cy="2953"/>
            </a:xfrm>
            <a:custGeom>
              <a:avLst/>
              <a:gdLst>
                <a:gd name="T0" fmla="*/ 1436 w 3638"/>
                <a:gd name="T1" fmla="*/ 6199 h 6287"/>
                <a:gd name="T2" fmla="*/ 1215 w 3638"/>
                <a:gd name="T3" fmla="*/ 6018 h 6287"/>
                <a:gd name="T4" fmla="*/ 1356 w 3638"/>
                <a:gd name="T5" fmla="*/ 5650 h 6287"/>
                <a:gd name="T6" fmla="*/ 1502 w 3638"/>
                <a:gd name="T7" fmla="*/ 5157 h 6287"/>
                <a:gd name="T8" fmla="*/ 1582 w 3638"/>
                <a:gd name="T9" fmla="*/ 4380 h 6287"/>
                <a:gd name="T10" fmla="*/ 1592 w 3638"/>
                <a:gd name="T11" fmla="*/ 4108 h 6287"/>
                <a:gd name="T12" fmla="*/ 1493 w 3638"/>
                <a:gd name="T13" fmla="*/ 3900 h 6287"/>
                <a:gd name="T14" fmla="*/ 1411 w 3638"/>
                <a:gd name="T15" fmla="*/ 3615 h 6287"/>
                <a:gd name="T16" fmla="*/ 1567 w 3638"/>
                <a:gd name="T17" fmla="*/ 3110 h 6287"/>
                <a:gd name="T18" fmla="*/ 1612 w 3638"/>
                <a:gd name="T19" fmla="*/ 3042 h 6287"/>
                <a:gd name="T20" fmla="*/ 1621 w 3638"/>
                <a:gd name="T21" fmla="*/ 2859 h 6287"/>
                <a:gd name="T22" fmla="*/ 1699 w 3638"/>
                <a:gd name="T23" fmla="*/ 2635 h 6287"/>
                <a:gd name="T24" fmla="*/ 1731 w 3638"/>
                <a:gd name="T25" fmla="*/ 2405 h 6287"/>
                <a:gd name="T26" fmla="*/ 1720 w 3638"/>
                <a:gd name="T27" fmla="*/ 1930 h 6287"/>
                <a:gd name="T28" fmla="*/ 1622 w 3638"/>
                <a:gd name="T29" fmla="*/ 1573 h 6287"/>
                <a:gd name="T30" fmla="*/ 1320 w 3638"/>
                <a:gd name="T31" fmla="*/ 2102 h 6287"/>
                <a:gd name="T32" fmla="*/ 1148 w 3638"/>
                <a:gd name="T33" fmla="*/ 2225 h 6287"/>
                <a:gd name="T34" fmla="*/ 750 w 3638"/>
                <a:gd name="T35" fmla="*/ 2016 h 6287"/>
                <a:gd name="T36" fmla="*/ 506 w 3638"/>
                <a:gd name="T37" fmla="*/ 2055 h 6287"/>
                <a:gd name="T38" fmla="*/ 45 w 3638"/>
                <a:gd name="T39" fmla="*/ 1482 h 6287"/>
                <a:gd name="T40" fmla="*/ 819 w 3638"/>
                <a:gd name="T41" fmla="*/ 1689 h 6287"/>
                <a:gd name="T42" fmla="*/ 1127 w 3638"/>
                <a:gd name="T43" fmla="*/ 1749 h 6287"/>
                <a:gd name="T44" fmla="*/ 1441 w 3638"/>
                <a:gd name="T45" fmla="*/ 1152 h 6287"/>
                <a:gd name="T46" fmla="*/ 1768 w 3638"/>
                <a:gd name="T47" fmla="*/ 974 h 6287"/>
                <a:gd name="T48" fmla="*/ 2005 w 3638"/>
                <a:gd name="T49" fmla="*/ 845 h 6287"/>
                <a:gd name="T50" fmla="*/ 1956 w 3638"/>
                <a:gd name="T51" fmla="*/ 561 h 6287"/>
                <a:gd name="T52" fmla="*/ 1971 w 3638"/>
                <a:gd name="T53" fmla="*/ 328 h 6287"/>
                <a:gd name="T54" fmla="*/ 2499 w 3638"/>
                <a:gd name="T55" fmla="*/ 157 h 6287"/>
                <a:gd name="T56" fmla="*/ 2509 w 3638"/>
                <a:gd name="T57" fmla="*/ 657 h 6287"/>
                <a:gd name="T58" fmla="*/ 2442 w 3638"/>
                <a:gd name="T59" fmla="*/ 786 h 6287"/>
                <a:gd name="T60" fmla="*/ 2581 w 3638"/>
                <a:gd name="T61" fmla="*/ 835 h 6287"/>
                <a:gd name="T62" fmla="*/ 2689 w 3638"/>
                <a:gd name="T63" fmla="*/ 877 h 6287"/>
                <a:gd name="T64" fmla="*/ 2765 w 3638"/>
                <a:gd name="T65" fmla="*/ 903 h 6287"/>
                <a:gd name="T66" fmla="*/ 2919 w 3638"/>
                <a:gd name="T67" fmla="*/ 1019 h 6287"/>
                <a:gd name="T68" fmla="*/ 3206 w 3638"/>
                <a:gd name="T69" fmla="*/ 1447 h 6287"/>
                <a:gd name="T70" fmla="*/ 3374 w 3638"/>
                <a:gd name="T71" fmla="*/ 1758 h 6287"/>
                <a:gd name="T72" fmla="*/ 3420 w 3638"/>
                <a:gd name="T73" fmla="*/ 1867 h 6287"/>
                <a:gd name="T74" fmla="*/ 3121 w 3638"/>
                <a:gd name="T75" fmla="*/ 2284 h 6287"/>
                <a:gd name="T76" fmla="*/ 2980 w 3638"/>
                <a:gd name="T77" fmla="*/ 2493 h 6287"/>
                <a:gd name="T78" fmla="*/ 3057 w 3638"/>
                <a:gd name="T79" fmla="*/ 2988 h 6287"/>
                <a:gd name="T80" fmla="*/ 3069 w 3638"/>
                <a:gd name="T81" fmla="*/ 3514 h 6287"/>
                <a:gd name="T82" fmla="*/ 3020 w 3638"/>
                <a:gd name="T83" fmla="*/ 3917 h 6287"/>
                <a:gd name="T84" fmla="*/ 3123 w 3638"/>
                <a:gd name="T85" fmla="*/ 3960 h 6287"/>
                <a:gd name="T86" fmla="*/ 3344 w 3638"/>
                <a:gd name="T87" fmla="*/ 3812 h 6287"/>
                <a:gd name="T88" fmla="*/ 3538 w 3638"/>
                <a:gd name="T89" fmla="*/ 4235 h 6287"/>
                <a:gd name="T90" fmla="*/ 3490 w 3638"/>
                <a:gd name="T91" fmla="*/ 4808 h 6287"/>
                <a:gd name="T92" fmla="*/ 3169 w 3638"/>
                <a:gd name="T93" fmla="*/ 4428 h 6287"/>
                <a:gd name="T94" fmla="*/ 3010 w 3638"/>
                <a:gd name="T95" fmla="*/ 4530 h 6287"/>
                <a:gd name="T96" fmla="*/ 2690 w 3638"/>
                <a:gd name="T97" fmla="*/ 4640 h 6287"/>
                <a:gd name="T98" fmla="*/ 2487 w 3638"/>
                <a:gd name="T99" fmla="*/ 4356 h 6287"/>
                <a:gd name="T100" fmla="*/ 2442 w 3638"/>
                <a:gd name="T101" fmla="*/ 4225 h 6287"/>
                <a:gd name="T102" fmla="*/ 2395 w 3638"/>
                <a:gd name="T103" fmla="*/ 4044 h 6287"/>
                <a:gd name="T104" fmla="*/ 2282 w 3638"/>
                <a:gd name="T105" fmla="*/ 3873 h 6287"/>
                <a:gd name="T106" fmla="*/ 2138 w 3638"/>
                <a:gd name="T107" fmla="*/ 4121 h 6287"/>
                <a:gd name="T108" fmla="*/ 2039 w 3638"/>
                <a:gd name="T109" fmla="*/ 4348 h 6287"/>
                <a:gd name="T110" fmla="*/ 1994 w 3638"/>
                <a:gd name="T111" fmla="*/ 4484 h 6287"/>
                <a:gd name="T112" fmla="*/ 1924 w 3638"/>
                <a:gd name="T113" fmla="*/ 4983 h 6287"/>
                <a:gd name="T114" fmla="*/ 1773 w 3638"/>
                <a:gd name="T115" fmla="*/ 5520 h 6287"/>
                <a:gd name="T116" fmla="*/ 1754 w 3638"/>
                <a:gd name="T117" fmla="*/ 6025 h 6287"/>
                <a:gd name="T118" fmla="*/ 1480 w 3638"/>
                <a:gd name="T119" fmla="*/ 6258 h 6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38" h="6287">
                  <a:moveTo>
                    <a:pt x="1480" y="6258"/>
                  </a:moveTo>
                  <a:cubicBezTo>
                    <a:pt x="1458" y="6245"/>
                    <a:pt x="1441" y="6222"/>
                    <a:pt x="1436" y="6199"/>
                  </a:cubicBezTo>
                  <a:cubicBezTo>
                    <a:pt x="1427" y="6151"/>
                    <a:pt x="1413" y="6140"/>
                    <a:pt x="1320" y="6105"/>
                  </a:cubicBezTo>
                  <a:cubicBezTo>
                    <a:pt x="1254" y="6080"/>
                    <a:pt x="1240" y="6068"/>
                    <a:pt x="1215" y="6018"/>
                  </a:cubicBezTo>
                  <a:cubicBezTo>
                    <a:pt x="1159" y="5908"/>
                    <a:pt x="1187" y="5697"/>
                    <a:pt x="1263" y="5656"/>
                  </a:cubicBezTo>
                  <a:cubicBezTo>
                    <a:pt x="1281" y="5646"/>
                    <a:pt x="1315" y="5644"/>
                    <a:pt x="1356" y="5650"/>
                  </a:cubicBezTo>
                  <a:cubicBezTo>
                    <a:pt x="1432" y="5660"/>
                    <a:pt x="1464" y="5640"/>
                    <a:pt x="1483" y="5566"/>
                  </a:cubicBezTo>
                  <a:cubicBezTo>
                    <a:pt x="1490" y="5540"/>
                    <a:pt x="1498" y="5356"/>
                    <a:pt x="1502" y="5157"/>
                  </a:cubicBezTo>
                  <a:cubicBezTo>
                    <a:pt x="1508" y="4724"/>
                    <a:pt x="1514" y="4645"/>
                    <a:pt x="1542" y="4568"/>
                  </a:cubicBezTo>
                  <a:cubicBezTo>
                    <a:pt x="1553" y="4536"/>
                    <a:pt x="1571" y="4451"/>
                    <a:pt x="1582" y="4380"/>
                  </a:cubicBezTo>
                  <a:cubicBezTo>
                    <a:pt x="1593" y="4309"/>
                    <a:pt x="1609" y="4239"/>
                    <a:pt x="1619" y="4225"/>
                  </a:cubicBezTo>
                  <a:cubicBezTo>
                    <a:pt x="1633" y="4202"/>
                    <a:pt x="1630" y="4187"/>
                    <a:pt x="1592" y="4108"/>
                  </a:cubicBezTo>
                  <a:cubicBezTo>
                    <a:pt x="1568" y="4058"/>
                    <a:pt x="1549" y="4000"/>
                    <a:pt x="1549" y="3978"/>
                  </a:cubicBezTo>
                  <a:cubicBezTo>
                    <a:pt x="1548" y="3946"/>
                    <a:pt x="1537" y="3931"/>
                    <a:pt x="1493" y="3900"/>
                  </a:cubicBezTo>
                  <a:cubicBezTo>
                    <a:pt x="1441" y="3863"/>
                    <a:pt x="1354" y="3729"/>
                    <a:pt x="1354" y="3686"/>
                  </a:cubicBezTo>
                  <a:cubicBezTo>
                    <a:pt x="1354" y="3677"/>
                    <a:pt x="1380" y="3645"/>
                    <a:pt x="1411" y="3615"/>
                  </a:cubicBezTo>
                  <a:cubicBezTo>
                    <a:pt x="1492" y="3539"/>
                    <a:pt x="1510" y="3500"/>
                    <a:pt x="1496" y="3428"/>
                  </a:cubicBezTo>
                  <a:cubicBezTo>
                    <a:pt x="1477" y="3326"/>
                    <a:pt x="1521" y="3127"/>
                    <a:pt x="1567" y="3110"/>
                  </a:cubicBezTo>
                  <a:cubicBezTo>
                    <a:pt x="1578" y="3105"/>
                    <a:pt x="1587" y="3096"/>
                    <a:pt x="1587" y="3089"/>
                  </a:cubicBezTo>
                  <a:cubicBezTo>
                    <a:pt x="1587" y="3082"/>
                    <a:pt x="1598" y="3061"/>
                    <a:pt x="1612" y="3042"/>
                  </a:cubicBezTo>
                  <a:cubicBezTo>
                    <a:pt x="1633" y="3012"/>
                    <a:pt x="1635" y="2997"/>
                    <a:pt x="1625" y="2943"/>
                  </a:cubicBezTo>
                  <a:cubicBezTo>
                    <a:pt x="1618" y="2907"/>
                    <a:pt x="1617" y="2870"/>
                    <a:pt x="1621" y="2859"/>
                  </a:cubicBezTo>
                  <a:cubicBezTo>
                    <a:pt x="1626" y="2848"/>
                    <a:pt x="1629" y="2829"/>
                    <a:pt x="1627" y="2817"/>
                  </a:cubicBezTo>
                  <a:cubicBezTo>
                    <a:pt x="1622" y="2771"/>
                    <a:pt x="1657" y="2682"/>
                    <a:pt x="1699" y="2635"/>
                  </a:cubicBezTo>
                  <a:cubicBezTo>
                    <a:pt x="1749" y="2579"/>
                    <a:pt x="1749" y="2579"/>
                    <a:pt x="1721" y="2522"/>
                  </a:cubicBezTo>
                  <a:cubicBezTo>
                    <a:pt x="1701" y="2482"/>
                    <a:pt x="1702" y="2477"/>
                    <a:pt x="1731" y="2405"/>
                  </a:cubicBezTo>
                  <a:cubicBezTo>
                    <a:pt x="1761" y="2331"/>
                    <a:pt x="1762" y="2325"/>
                    <a:pt x="1749" y="2144"/>
                  </a:cubicBezTo>
                  <a:cubicBezTo>
                    <a:pt x="1741" y="2042"/>
                    <a:pt x="1728" y="1946"/>
                    <a:pt x="1720" y="1930"/>
                  </a:cubicBezTo>
                  <a:cubicBezTo>
                    <a:pt x="1711" y="1915"/>
                    <a:pt x="1704" y="1875"/>
                    <a:pt x="1704" y="1842"/>
                  </a:cubicBezTo>
                  <a:cubicBezTo>
                    <a:pt x="1704" y="1741"/>
                    <a:pt x="1642" y="1540"/>
                    <a:pt x="1622" y="1573"/>
                  </a:cubicBezTo>
                  <a:cubicBezTo>
                    <a:pt x="1617" y="1580"/>
                    <a:pt x="1599" y="1629"/>
                    <a:pt x="1580" y="1682"/>
                  </a:cubicBezTo>
                  <a:cubicBezTo>
                    <a:pt x="1548" y="1773"/>
                    <a:pt x="1419" y="1981"/>
                    <a:pt x="1320" y="2102"/>
                  </a:cubicBezTo>
                  <a:cubicBezTo>
                    <a:pt x="1296" y="2131"/>
                    <a:pt x="1248" y="2171"/>
                    <a:pt x="1212" y="2190"/>
                  </a:cubicBezTo>
                  <a:lnTo>
                    <a:pt x="1148" y="2225"/>
                  </a:lnTo>
                  <a:lnTo>
                    <a:pt x="982" y="2146"/>
                  </a:lnTo>
                  <a:cubicBezTo>
                    <a:pt x="891" y="2102"/>
                    <a:pt x="787" y="2044"/>
                    <a:pt x="750" y="2016"/>
                  </a:cubicBezTo>
                  <a:cubicBezTo>
                    <a:pt x="685" y="1967"/>
                    <a:pt x="682" y="1967"/>
                    <a:pt x="653" y="1989"/>
                  </a:cubicBezTo>
                  <a:cubicBezTo>
                    <a:pt x="612" y="2019"/>
                    <a:pt x="568" y="2039"/>
                    <a:pt x="506" y="2055"/>
                  </a:cubicBezTo>
                  <a:cubicBezTo>
                    <a:pt x="327" y="2102"/>
                    <a:pt x="126" y="2003"/>
                    <a:pt x="37" y="1825"/>
                  </a:cubicBezTo>
                  <a:cubicBezTo>
                    <a:pt x="0" y="1750"/>
                    <a:pt x="4" y="1564"/>
                    <a:pt x="45" y="1482"/>
                  </a:cubicBezTo>
                  <a:cubicBezTo>
                    <a:pt x="179" y="1208"/>
                    <a:pt x="566" y="1175"/>
                    <a:pt x="745" y="1422"/>
                  </a:cubicBezTo>
                  <a:cubicBezTo>
                    <a:pt x="797" y="1494"/>
                    <a:pt x="828" y="1605"/>
                    <a:pt x="819" y="1689"/>
                  </a:cubicBezTo>
                  <a:cubicBezTo>
                    <a:pt x="811" y="1768"/>
                    <a:pt x="814" y="1772"/>
                    <a:pt x="923" y="1801"/>
                  </a:cubicBezTo>
                  <a:cubicBezTo>
                    <a:pt x="1051" y="1835"/>
                    <a:pt x="1061" y="1832"/>
                    <a:pt x="1127" y="1749"/>
                  </a:cubicBezTo>
                  <a:cubicBezTo>
                    <a:pt x="1261" y="1578"/>
                    <a:pt x="1303" y="1504"/>
                    <a:pt x="1336" y="1381"/>
                  </a:cubicBezTo>
                  <a:cubicBezTo>
                    <a:pt x="1361" y="1287"/>
                    <a:pt x="1384" y="1237"/>
                    <a:pt x="1441" y="1152"/>
                  </a:cubicBezTo>
                  <a:cubicBezTo>
                    <a:pt x="1522" y="1030"/>
                    <a:pt x="1568" y="1000"/>
                    <a:pt x="1684" y="991"/>
                  </a:cubicBezTo>
                  <a:cubicBezTo>
                    <a:pt x="1720" y="989"/>
                    <a:pt x="1758" y="981"/>
                    <a:pt x="1768" y="974"/>
                  </a:cubicBezTo>
                  <a:cubicBezTo>
                    <a:pt x="1812" y="946"/>
                    <a:pt x="1841" y="929"/>
                    <a:pt x="1872" y="915"/>
                  </a:cubicBezTo>
                  <a:cubicBezTo>
                    <a:pt x="1967" y="872"/>
                    <a:pt x="1996" y="857"/>
                    <a:pt x="2005" y="845"/>
                  </a:cubicBezTo>
                  <a:cubicBezTo>
                    <a:pt x="2020" y="824"/>
                    <a:pt x="2017" y="592"/>
                    <a:pt x="2001" y="592"/>
                  </a:cubicBezTo>
                  <a:cubicBezTo>
                    <a:pt x="1994" y="592"/>
                    <a:pt x="1973" y="578"/>
                    <a:pt x="1956" y="561"/>
                  </a:cubicBezTo>
                  <a:cubicBezTo>
                    <a:pt x="1917" y="522"/>
                    <a:pt x="1912" y="438"/>
                    <a:pt x="1947" y="403"/>
                  </a:cubicBezTo>
                  <a:cubicBezTo>
                    <a:pt x="1960" y="390"/>
                    <a:pt x="1970" y="359"/>
                    <a:pt x="1971" y="328"/>
                  </a:cubicBezTo>
                  <a:cubicBezTo>
                    <a:pt x="1975" y="233"/>
                    <a:pt x="2003" y="177"/>
                    <a:pt x="2073" y="124"/>
                  </a:cubicBezTo>
                  <a:cubicBezTo>
                    <a:pt x="2237" y="0"/>
                    <a:pt x="2417" y="14"/>
                    <a:pt x="2499" y="157"/>
                  </a:cubicBezTo>
                  <a:cubicBezTo>
                    <a:pt x="2550" y="244"/>
                    <a:pt x="2556" y="290"/>
                    <a:pt x="2544" y="470"/>
                  </a:cubicBezTo>
                  <a:cubicBezTo>
                    <a:pt x="2535" y="610"/>
                    <a:pt x="2530" y="640"/>
                    <a:pt x="2509" y="657"/>
                  </a:cubicBezTo>
                  <a:cubicBezTo>
                    <a:pt x="2496" y="668"/>
                    <a:pt x="2475" y="701"/>
                    <a:pt x="2463" y="732"/>
                  </a:cubicBezTo>
                  <a:lnTo>
                    <a:pt x="2442" y="786"/>
                  </a:lnTo>
                  <a:lnTo>
                    <a:pt x="2491" y="807"/>
                  </a:lnTo>
                  <a:cubicBezTo>
                    <a:pt x="2517" y="818"/>
                    <a:pt x="2558" y="831"/>
                    <a:pt x="2581" y="835"/>
                  </a:cubicBezTo>
                  <a:cubicBezTo>
                    <a:pt x="2604" y="839"/>
                    <a:pt x="2629" y="850"/>
                    <a:pt x="2637" y="860"/>
                  </a:cubicBezTo>
                  <a:cubicBezTo>
                    <a:pt x="2646" y="869"/>
                    <a:pt x="2669" y="877"/>
                    <a:pt x="2689" y="877"/>
                  </a:cubicBezTo>
                  <a:cubicBezTo>
                    <a:pt x="2709" y="877"/>
                    <a:pt x="2729" y="883"/>
                    <a:pt x="2733" y="890"/>
                  </a:cubicBezTo>
                  <a:cubicBezTo>
                    <a:pt x="2738" y="897"/>
                    <a:pt x="2752" y="903"/>
                    <a:pt x="2765" y="903"/>
                  </a:cubicBezTo>
                  <a:cubicBezTo>
                    <a:pt x="2778" y="903"/>
                    <a:pt x="2809" y="925"/>
                    <a:pt x="2833" y="953"/>
                  </a:cubicBezTo>
                  <a:cubicBezTo>
                    <a:pt x="2857" y="980"/>
                    <a:pt x="2896" y="1009"/>
                    <a:pt x="2919" y="1019"/>
                  </a:cubicBezTo>
                  <a:cubicBezTo>
                    <a:pt x="2992" y="1049"/>
                    <a:pt x="3085" y="1166"/>
                    <a:pt x="3115" y="1263"/>
                  </a:cubicBezTo>
                  <a:cubicBezTo>
                    <a:pt x="3130" y="1311"/>
                    <a:pt x="3171" y="1394"/>
                    <a:pt x="3206" y="1447"/>
                  </a:cubicBezTo>
                  <a:cubicBezTo>
                    <a:pt x="3241" y="1501"/>
                    <a:pt x="3287" y="1584"/>
                    <a:pt x="3309" y="1633"/>
                  </a:cubicBezTo>
                  <a:cubicBezTo>
                    <a:pt x="3331" y="1682"/>
                    <a:pt x="3360" y="1738"/>
                    <a:pt x="3374" y="1758"/>
                  </a:cubicBezTo>
                  <a:cubicBezTo>
                    <a:pt x="3388" y="1778"/>
                    <a:pt x="3400" y="1805"/>
                    <a:pt x="3401" y="1818"/>
                  </a:cubicBezTo>
                  <a:cubicBezTo>
                    <a:pt x="3401" y="1831"/>
                    <a:pt x="3410" y="1853"/>
                    <a:pt x="3420" y="1867"/>
                  </a:cubicBezTo>
                  <a:cubicBezTo>
                    <a:pt x="3448" y="1904"/>
                    <a:pt x="3444" y="2020"/>
                    <a:pt x="3413" y="2081"/>
                  </a:cubicBezTo>
                  <a:cubicBezTo>
                    <a:pt x="3382" y="2143"/>
                    <a:pt x="3226" y="2251"/>
                    <a:pt x="3121" y="2284"/>
                  </a:cubicBezTo>
                  <a:cubicBezTo>
                    <a:pt x="3053" y="2306"/>
                    <a:pt x="3049" y="2309"/>
                    <a:pt x="3031" y="2371"/>
                  </a:cubicBezTo>
                  <a:cubicBezTo>
                    <a:pt x="3021" y="2406"/>
                    <a:pt x="2997" y="2461"/>
                    <a:pt x="2980" y="2493"/>
                  </a:cubicBezTo>
                  <a:cubicBezTo>
                    <a:pt x="2944" y="2557"/>
                    <a:pt x="2937" y="2631"/>
                    <a:pt x="2964" y="2671"/>
                  </a:cubicBezTo>
                  <a:cubicBezTo>
                    <a:pt x="2988" y="2707"/>
                    <a:pt x="3032" y="2858"/>
                    <a:pt x="3057" y="2988"/>
                  </a:cubicBezTo>
                  <a:cubicBezTo>
                    <a:pt x="3068" y="3049"/>
                    <a:pt x="3087" y="3123"/>
                    <a:pt x="3098" y="3153"/>
                  </a:cubicBezTo>
                  <a:cubicBezTo>
                    <a:pt x="3125" y="3225"/>
                    <a:pt x="3112" y="3388"/>
                    <a:pt x="3069" y="3514"/>
                  </a:cubicBezTo>
                  <a:cubicBezTo>
                    <a:pt x="3048" y="3575"/>
                    <a:pt x="3037" y="3635"/>
                    <a:pt x="3037" y="3695"/>
                  </a:cubicBezTo>
                  <a:cubicBezTo>
                    <a:pt x="3037" y="3744"/>
                    <a:pt x="3029" y="3844"/>
                    <a:pt x="3020" y="3917"/>
                  </a:cubicBezTo>
                  <a:cubicBezTo>
                    <a:pt x="3006" y="4034"/>
                    <a:pt x="3006" y="4050"/>
                    <a:pt x="3024" y="4053"/>
                  </a:cubicBezTo>
                  <a:cubicBezTo>
                    <a:pt x="3060" y="4061"/>
                    <a:pt x="3114" y="4010"/>
                    <a:pt x="3123" y="3960"/>
                  </a:cubicBezTo>
                  <a:cubicBezTo>
                    <a:pt x="3139" y="3863"/>
                    <a:pt x="3154" y="3833"/>
                    <a:pt x="3199" y="3812"/>
                  </a:cubicBezTo>
                  <a:cubicBezTo>
                    <a:pt x="3254" y="3785"/>
                    <a:pt x="3288" y="3786"/>
                    <a:pt x="3344" y="3812"/>
                  </a:cubicBezTo>
                  <a:cubicBezTo>
                    <a:pt x="3410" y="3844"/>
                    <a:pt x="3457" y="3932"/>
                    <a:pt x="3461" y="4034"/>
                  </a:cubicBezTo>
                  <a:cubicBezTo>
                    <a:pt x="3465" y="4116"/>
                    <a:pt x="3502" y="4214"/>
                    <a:pt x="3538" y="4235"/>
                  </a:cubicBezTo>
                  <a:cubicBezTo>
                    <a:pt x="3564" y="4250"/>
                    <a:pt x="3592" y="4311"/>
                    <a:pt x="3608" y="4386"/>
                  </a:cubicBezTo>
                  <a:cubicBezTo>
                    <a:pt x="3638" y="4525"/>
                    <a:pt x="3571" y="4766"/>
                    <a:pt x="3490" y="4808"/>
                  </a:cubicBezTo>
                  <a:cubicBezTo>
                    <a:pt x="3392" y="4858"/>
                    <a:pt x="3328" y="4811"/>
                    <a:pt x="3284" y="4655"/>
                  </a:cubicBezTo>
                  <a:cubicBezTo>
                    <a:pt x="3250" y="4535"/>
                    <a:pt x="3209" y="4454"/>
                    <a:pt x="3169" y="4428"/>
                  </a:cubicBezTo>
                  <a:cubicBezTo>
                    <a:pt x="3139" y="4408"/>
                    <a:pt x="3137" y="4409"/>
                    <a:pt x="3099" y="4456"/>
                  </a:cubicBezTo>
                  <a:cubicBezTo>
                    <a:pt x="3077" y="4483"/>
                    <a:pt x="3037" y="4516"/>
                    <a:pt x="3010" y="4530"/>
                  </a:cubicBezTo>
                  <a:cubicBezTo>
                    <a:pt x="2983" y="4544"/>
                    <a:pt x="2925" y="4578"/>
                    <a:pt x="2883" y="4606"/>
                  </a:cubicBezTo>
                  <a:cubicBezTo>
                    <a:pt x="2775" y="4675"/>
                    <a:pt x="2747" y="4680"/>
                    <a:pt x="2690" y="4640"/>
                  </a:cubicBezTo>
                  <a:cubicBezTo>
                    <a:pt x="2592" y="4572"/>
                    <a:pt x="2521" y="4493"/>
                    <a:pt x="2513" y="4442"/>
                  </a:cubicBezTo>
                  <a:cubicBezTo>
                    <a:pt x="2509" y="4415"/>
                    <a:pt x="2497" y="4377"/>
                    <a:pt x="2487" y="4356"/>
                  </a:cubicBezTo>
                  <a:cubicBezTo>
                    <a:pt x="2476" y="4336"/>
                    <a:pt x="2468" y="4304"/>
                    <a:pt x="2468" y="4284"/>
                  </a:cubicBezTo>
                  <a:cubicBezTo>
                    <a:pt x="2468" y="4264"/>
                    <a:pt x="2456" y="4238"/>
                    <a:pt x="2442" y="4225"/>
                  </a:cubicBezTo>
                  <a:cubicBezTo>
                    <a:pt x="2428" y="4212"/>
                    <a:pt x="2416" y="4186"/>
                    <a:pt x="2416" y="4168"/>
                  </a:cubicBezTo>
                  <a:cubicBezTo>
                    <a:pt x="2416" y="4149"/>
                    <a:pt x="2406" y="4093"/>
                    <a:pt x="2395" y="4044"/>
                  </a:cubicBezTo>
                  <a:cubicBezTo>
                    <a:pt x="2377" y="3969"/>
                    <a:pt x="2365" y="3946"/>
                    <a:pt x="2328" y="3913"/>
                  </a:cubicBezTo>
                  <a:lnTo>
                    <a:pt x="2282" y="3873"/>
                  </a:lnTo>
                  <a:lnTo>
                    <a:pt x="2226" y="3984"/>
                  </a:lnTo>
                  <a:cubicBezTo>
                    <a:pt x="2195" y="4045"/>
                    <a:pt x="2155" y="4107"/>
                    <a:pt x="2138" y="4121"/>
                  </a:cubicBezTo>
                  <a:cubicBezTo>
                    <a:pt x="2121" y="4135"/>
                    <a:pt x="2101" y="4173"/>
                    <a:pt x="2093" y="4205"/>
                  </a:cubicBezTo>
                  <a:cubicBezTo>
                    <a:pt x="2070" y="4292"/>
                    <a:pt x="2049" y="4348"/>
                    <a:pt x="2039" y="4348"/>
                  </a:cubicBezTo>
                  <a:cubicBezTo>
                    <a:pt x="2034" y="4348"/>
                    <a:pt x="2033" y="4358"/>
                    <a:pt x="2036" y="4371"/>
                  </a:cubicBezTo>
                  <a:cubicBezTo>
                    <a:pt x="2039" y="4384"/>
                    <a:pt x="2021" y="4435"/>
                    <a:pt x="1994" y="4484"/>
                  </a:cubicBezTo>
                  <a:cubicBezTo>
                    <a:pt x="1947" y="4574"/>
                    <a:pt x="1946" y="4576"/>
                    <a:pt x="1943" y="4750"/>
                  </a:cubicBezTo>
                  <a:cubicBezTo>
                    <a:pt x="1941" y="4847"/>
                    <a:pt x="1932" y="4952"/>
                    <a:pt x="1924" y="4983"/>
                  </a:cubicBezTo>
                  <a:cubicBezTo>
                    <a:pt x="1907" y="5046"/>
                    <a:pt x="1860" y="5153"/>
                    <a:pt x="1844" y="5164"/>
                  </a:cubicBezTo>
                  <a:cubicBezTo>
                    <a:pt x="1821" y="5180"/>
                    <a:pt x="1766" y="5455"/>
                    <a:pt x="1773" y="5520"/>
                  </a:cubicBezTo>
                  <a:cubicBezTo>
                    <a:pt x="1777" y="5556"/>
                    <a:pt x="1771" y="5627"/>
                    <a:pt x="1759" y="5682"/>
                  </a:cubicBezTo>
                  <a:cubicBezTo>
                    <a:pt x="1734" y="5801"/>
                    <a:pt x="1733" y="5906"/>
                    <a:pt x="1754" y="6025"/>
                  </a:cubicBezTo>
                  <a:cubicBezTo>
                    <a:pt x="1786" y="6205"/>
                    <a:pt x="1786" y="6217"/>
                    <a:pt x="1756" y="6244"/>
                  </a:cubicBezTo>
                  <a:cubicBezTo>
                    <a:pt x="1718" y="6279"/>
                    <a:pt x="1533" y="6287"/>
                    <a:pt x="1480" y="625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260"/>
            <p:cNvSpPr>
              <a:spLocks/>
            </p:cNvSpPr>
            <p:nvPr/>
          </p:nvSpPr>
          <p:spPr bwMode="auto">
            <a:xfrm>
              <a:off x="2919" y="1449"/>
              <a:ext cx="1702" cy="2965"/>
            </a:xfrm>
            <a:custGeom>
              <a:avLst/>
              <a:gdLst>
                <a:gd name="T0" fmla="*/ 1428 w 3630"/>
                <a:gd name="T1" fmla="*/ 6224 h 6312"/>
                <a:gd name="T2" fmla="*/ 1207 w 3630"/>
                <a:gd name="T3" fmla="*/ 6043 h 6312"/>
                <a:gd name="T4" fmla="*/ 1333 w 3630"/>
                <a:gd name="T5" fmla="*/ 5674 h 6312"/>
                <a:gd name="T6" fmla="*/ 1538 w 3630"/>
                <a:gd name="T7" fmla="*/ 4574 h 6312"/>
                <a:gd name="T8" fmla="*/ 1612 w 3630"/>
                <a:gd name="T9" fmla="*/ 4249 h 6312"/>
                <a:gd name="T10" fmla="*/ 1545 w 3630"/>
                <a:gd name="T11" fmla="*/ 4015 h 6312"/>
                <a:gd name="T12" fmla="*/ 1346 w 3630"/>
                <a:gd name="T13" fmla="*/ 3709 h 6312"/>
                <a:gd name="T14" fmla="*/ 1489 w 3630"/>
                <a:gd name="T15" fmla="*/ 3455 h 6312"/>
                <a:gd name="T16" fmla="*/ 1579 w 3630"/>
                <a:gd name="T17" fmla="*/ 3113 h 6312"/>
                <a:gd name="T18" fmla="*/ 1618 w 3630"/>
                <a:gd name="T19" fmla="*/ 2974 h 6312"/>
                <a:gd name="T20" fmla="*/ 1624 w 3630"/>
                <a:gd name="T21" fmla="*/ 2841 h 6312"/>
                <a:gd name="T22" fmla="*/ 1716 w 3630"/>
                <a:gd name="T23" fmla="*/ 2553 h 6312"/>
                <a:gd name="T24" fmla="*/ 1754 w 3630"/>
                <a:gd name="T25" fmla="*/ 2325 h 6312"/>
                <a:gd name="T26" fmla="*/ 1715 w 3630"/>
                <a:gd name="T27" fmla="*/ 1958 h 6312"/>
                <a:gd name="T28" fmla="*/ 1652 w 3630"/>
                <a:gd name="T29" fmla="*/ 1645 h 6312"/>
                <a:gd name="T30" fmla="*/ 1395 w 3630"/>
                <a:gd name="T31" fmla="*/ 2010 h 6312"/>
                <a:gd name="T32" fmla="*/ 1140 w 3630"/>
                <a:gd name="T33" fmla="*/ 2240 h 6312"/>
                <a:gd name="T34" fmla="*/ 671 w 3630"/>
                <a:gd name="T35" fmla="*/ 1988 h 6312"/>
                <a:gd name="T36" fmla="*/ 381 w 3630"/>
                <a:gd name="T37" fmla="*/ 2091 h 6312"/>
                <a:gd name="T38" fmla="*/ 369 w 3630"/>
                <a:gd name="T39" fmla="*/ 1281 h 6312"/>
                <a:gd name="T40" fmla="*/ 822 w 3630"/>
                <a:gd name="T41" fmla="*/ 1794 h 6312"/>
                <a:gd name="T42" fmla="*/ 1184 w 3630"/>
                <a:gd name="T43" fmla="*/ 1689 h 6312"/>
                <a:gd name="T44" fmla="*/ 1496 w 3630"/>
                <a:gd name="T45" fmla="*/ 1092 h 6312"/>
                <a:gd name="T46" fmla="*/ 1759 w 3630"/>
                <a:gd name="T47" fmla="*/ 1001 h 6312"/>
                <a:gd name="T48" fmla="*/ 1997 w 3630"/>
                <a:gd name="T49" fmla="*/ 870 h 6312"/>
                <a:gd name="T50" fmla="*/ 1976 w 3630"/>
                <a:gd name="T51" fmla="*/ 605 h 6312"/>
                <a:gd name="T52" fmla="*/ 1966 w 3630"/>
                <a:gd name="T53" fmla="*/ 355 h 6312"/>
                <a:gd name="T54" fmla="*/ 2531 w 3630"/>
                <a:gd name="T55" fmla="*/ 271 h 6312"/>
                <a:gd name="T56" fmla="*/ 2437 w 3630"/>
                <a:gd name="T57" fmla="*/ 817 h 6312"/>
                <a:gd name="T58" fmla="*/ 2628 w 3630"/>
                <a:gd name="T59" fmla="*/ 883 h 6312"/>
                <a:gd name="T60" fmla="*/ 2706 w 3630"/>
                <a:gd name="T61" fmla="*/ 912 h 6312"/>
                <a:gd name="T62" fmla="*/ 2823 w 3630"/>
                <a:gd name="T63" fmla="*/ 977 h 6312"/>
                <a:gd name="T64" fmla="*/ 3108 w 3630"/>
                <a:gd name="T65" fmla="*/ 1289 h 6312"/>
                <a:gd name="T66" fmla="*/ 3303 w 3630"/>
                <a:gd name="T67" fmla="*/ 1667 h 6312"/>
                <a:gd name="T68" fmla="*/ 3392 w 3630"/>
                <a:gd name="T69" fmla="*/ 1836 h 6312"/>
                <a:gd name="T70" fmla="*/ 3401 w 3630"/>
                <a:gd name="T71" fmla="*/ 2111 h 6312"/>
                <a:gd name="T72" fmla="*/ 3022 w 3630"/>
                <a:gd name="T73" fmla="*/ 2397 h 6312"/>
                <a:gd name="T74" fmla="*/ 2956 w 3630"/>
                <a:gd name="T75" fmla="*/ 2696 h 6312"/>
                <a:gd name="T76" fmla="*/ 3090 w 3630"/>
                <a:gd name="T77" fmla="*/ 3179 h 6312"/>
                <a:gd name="T78" fmla="*/ 3057 w 3630"/>
                <a:gd name="T79" fmla="*/ 3551 h 6312"/>
                <a:gd name="T80" fmla="*/ 3012 w 3630"/>
                <a:gd name="T81" fmla="*/ 3942 h 6312"/>
                <a:gd name="T82" fmla="*/ 3120 w 3630"/>
                <a:gd name="T83" fmla="*/ 3958 h 6312"/>
                <a:gd name="T84" fmla="*/ 3452 w 3630"/>
                <a:gd name="T85" fmla="*/ 4058 h 6312"/>
                <a:gd name="T86" fmla="*/ 3600 w 3630"/>
                <a:gd name="T87" fmla="*/ 4408 h 6312"/>
                <a:gd name="T88" fmla="*/ 3276 w 3630"/>
                <a:gd name="T89" fmla="*/ 4683 h 6312"/>
                <a:gd name="T90" fmla="*/ 3136 w 3630"/>
                <a:gd name="T91" fmla="*/ 4423 h 6312"/>
                <a:gd name="T92" fmla="*/ 3000 w 3630"/>
                <a:gd name="T93" fmla="*/ 4556 h 6312"/>
                <a:gd name="T94" fmla="*/ 2677 w 3630"/>
                <a:gd name="T95" fmla="*/ 4662 h 6312"/>
                <a:gd name="T96" fmla="*/ 2479 w 3630"/>
                <a:gd name="T97" fmla="*/ 4381 h 6312"/>
                <a:gd name="T98" fmla="*/ 2439 w 3630"/>
                <a:gd name="T99" fmla="*/ 4255 h 6312"/>
                <a:gd name="T100" fmla="*/ 2389 w 3630"/>
                <a:gd name="T101" fmla="*/ 4075 h 6312"/>
                <a:gd name="T102" fmla="*/ 2274 w 3630"/>
                <a:gd name="T103" fmla="*/ 3897 h 6312"/>
                <a:gd name="T104" fmla="*/ 2130 w 3630"/>
                <a:gd name="T105" fmla="*/ 4146 h 6312"/>
                <a:gd name="T106" fmla="*/ 2031 w 3630"/>
                <a:gd name="T107" fmla="*/ 4373 h 6312"/>
                <a:gd name="T108" fmla="*/ 1981 w 3630"/>
                <a:gd name="T109" fmla="*/ 4522 h 6312"/>
                <a:gd name="T110" fmla="*/ 1929 w 3630"/>
                <a:gd name="T111" fmla="*/ 4797 h 6312"/>
                <a:gd name="T112" fmla="*/ 1792 w 3630"/>
                <a:gd name="T113" fmla="*/ 5331 h 6312"/>
                <a:gd name="T114" fmla="*/ 1762 w 3630"/>
                <a:gd name="T115" fmla="*/ 5530 h 6312"/>
                <a:gd name="T116" fmla="*/ 1746 w 3630"/>
                <a:gd name="T117" fmla="*/ 6050 h 6312"/>
                <a:gd name="T118" fmla="*/ 1472 w 3630"/>
                <a:gd name="T119" fmla="*/ 6283 h 6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30" h="6312">
                  <a:moveTo>
                    <a:pt x="1472" y="6283"/>
                  </a:moveTo>
                  <a:cubicBezTo>
                    <a:pt x="1450" y="6270"/>
                    <a:pt x="1433" y="6247"/>
                    <a:pt x="1428" y="6224"/>
                  </a:cubicBezTo>
                  <a:cubicBezTo>
                    <a:pt x="1419" y="6176"/>
                    <a:pt x="1405" y="6165"/>
                    <a:pt x="1312" y="6130"/>
                  </a:cubicBezTo>
                  <a:cubicBezTo>
                    <a:pt x="1246" y="6105"/>
                    <a:pt x="1232" y="6093"/>
                    <a:pt x="1207" y="6043"/>
                  </a:cubicBezTo>
                  <a:cubicBezTo>
                    <a:pt x="1156" y="5943"/>
                    <a:pt x="1172" y="5763"/>
                    <a:pt x="1238" y="5697"/>
                  </a:cubicBezTo>
                  <a:cubicBezTo>
                    <a:pt x="1266" y="5669"/>
                    <a:pt x="1277" y="5666"/>
                    <a:pt x="1333" y="5674"/>
                  </a:cubicBezTo>
                  <a:cubicBezTo>
                    <a:pt x="1480" y="5694"/>
                    <a:pt x="1489" y="5668"/>
                    <a:pt x="1496" y="5202"/>
                  </a:cubicBezTo>
                  <a:cubicBezTo>
                    <a:pt x="1504" y="4716"/>
                    <a:pt x="1507" y="4677"/>
                    <a:pt x="1538" y="4574"/>
                  </a:cubicBezTo>
                  <a:cubicBezTo>
                    <a:pt x="1553" y="4524"/>
                    <a:pt x="1572" y="4436"/>
                    <a:pt x="1580" y="4379"/>
                  </a:cubicBezTo>
                  <a:cubicBezTo>
                    <a:pt x="1588" y="4322"/>
                    <a:pt x="1602" y="4263"/>
                    <a:pt x="1612" y="4249"/>
                  </a:cubicBezTo>
                  <a:cubicBezTo>
                    <a:pt x="1627" y="4225"/>
                    <a:pt x="1624" y="4212"/>
                    <a:pt x="1590" y="4145"/>
                  </a:cubicBezTo>
                  <a:cubicBezTo>
                    <a:pt x="1569" y="4103"/>
                    <a:pt x="1549" y="4044"/>
                    <a:pt x="1545" y="4015"/>
                  </a:cubicBezTo>
                  <a:cubicBezTo>
                    <a:pt x="1538" y="3970"/>
                    <a:pt x="1528" y="3955"/>
                    <a:pt x="1484" y="3923"/>
                  </a:cubicBezTo>
                  <a:cubicBezTo>
                    <a:pt x="1432" y="3887"/>
                    <a:pt x="1346" y="3753"/>
                    <a:pt x="1346" y="3709"/>
                  </a:cubicBezTo>
                  <a:cubicBezTo>
                    <a:pt x="1346" y="3699"/>
                    <a:pt x="1370" y="3670"/>
                    <a:pt x="1398" y="3646"/>
                  </a:cubicBezTo>
                  <a:cubicBezTo>
                    <a:pt x="1485" y="3574"/>
                    <a:pt x="1504" y="3534"/>
                    <a:pt x="1489" y="3455"/>
                  </a:cubicBezTo>
                  <a:cubicBezTo>
                    <a:pt x="1468" y="3346"/>
                    <a:pt x="1521" y="3130"/>
                    <a:pt x="1568" y="3130"/>
                  </a:cubicBezTo>
                  <a:cubicBezTo>
                    <a:pt x="1574" y="3130"/>
                    <a:pt x="1579" y="3122"/>
                    <a:pt x="1579" y="3113"/>
                  </a:cubicBezTo>
                  <a:cubicBezTo>
                    <a:pt x="1579" y="3103"/>
                    <a:pt x="1591" y="3083"/>
                    <a:pt x="1605" y="3068"/>
                  </a:cubicBezTo>
                  <a:cubicBezTo>
                    <a:pt x="1628" y="3044"/>
                    <a:pt x="1629" y="3033"/>
                    <a:pt x="1618" y="2974"/>
                  </a:cubicBezTo>
                  <a:cubicBezTo>
                    <a:pt x="1610" y="2930"/>
                    <a:pt x="1610" y="2899"/>
                    <a:pt x="1618" y="2883"/>
                  </a:cubicBezTo>
                  <a:cubicBezTo>
                    <a:pt x="1625" y="2870"/>
                    <a:pt x="1628" y="2851"/>
                    <a:pt x="1624" y="2841"/>
                  </a:cubicBezTo>
                  <a:cubicBezTo>
                    <a:pt x="1611" y="2807"/>
                    <a:pt x="1643" y="2718"/>
                    <a:pt x="1690" y="2663"/>
                  </a:cubicBezTo>
                  <a:cubicBezTo>
                    <a:pt x="1741" y="2602"/>
                    <a:pt x="1741" y="2601"/>
                    <a:pt x="1716" y="2553"/>
                  </a:cubicBezTo>
                  <a:cubicBezTo>
                    <a:pt x="1695" y="2513"/>
                    <a:pt x="1699" y="2481"/>
                    <a:pt x="1733" y="2404"/>
                  </a:cubicBezTo>
                  <a:cubicBezTo>
                    <a:pt x="1747" y="2373"/>
                    <a:pt x="1756" y="2338"/>
                    <a:pt x="1754" y="2325"/>
                  </a:cubicBezTo>
                  <a:cubicBezTo>
                    <a:pt x="1751" y="2312"/>
                    <a:pt x="1745" y="2230"/>
                    <a:pt x="1740" y="2143"/>
                  </a:cubicBezTo>
                  <a:cubicBezTo>
                    <a:pt x="1735" y="2055"/>
                    <a:pt x="1724" y="1972"/>
                    <a:pt x="1715" y="1958"/>
                  </a:cubicBezTo>
                  <a:cubicBezTo>
                    <a:pt x="1706" y="1943"/>
                    <a:pt x="1696" y="1881"/>
                    <a:pt x="1691" y="1819"/>
                  </a:cubicBezTo>
                  <a:cubicBezTo>
                    <a:pt x="1686" y="1736"/>
                    <a:pt x="1676" y="1691"/>
                    <a:pt x="1652" y="1645"/>
                  </a:cubicBezTo>
                  <a:cubicBezTo>
                    <a:pt x="1621" y="1583"/>
                    <a:pt x="1620" y="1583"/>
                    <a:pt x="1607" y="1615"/>
                  </a:cubicBezTo>
                  <a:cubicBezTo>
                    <a:pt x="1523" y="1818"/>
                    <a:pt x="1494" y="1872"/>
                    <a:pt x="1395" y="2010"/>
                  </a:cubicBezTo>
                  <a:cubicBezTo>
                    <a:pt x="1313" y="2123"/>
                    <a:pt x="1267" y="2175"/>
                    <a:pt x="1222" y="2203"/>
                  </a:cubicBezTo>
                  <a:cubicBezTo>
                    <a:pt x="1188" y="2224"/>
                    <a:pt x="1151" y="2241"/>
                    <a:pt x="1140" y="2240"/>
                  </a:cubicBezTo>
                  <a:cubicBezTo>
                    <a:pt x="1100" y="2237"/>
                    <a:pt x="808" y="2091"/>
                    <a:pt x="740" y="2039"/>
                  </a:cubicBezTo>
                  <a:lnTo>
                    <a:pt x="671" y="1988"/>
                  </a:lnTo>
                  <a:lnTo>
                    <a:pt x="643" y="2014"/>
                  </a:lnTo>
                  <a:cubicBezTo>
                    <a:pt x="598" y="2055"/>
                    <a:pt x="456" y="2097"/>
                    <a:pt x="381" y="2091"/>
                  </a:cubicBezTo>
                  <a:cubicBezTo>
                    <a:pt x="171" y="2074"/>
                    <a:pt x="0" y="1894"/>
                    <a:pt x="0" y="1692"/>
                  </a:cubicBezTo>
                  <a:cubicBezTo>
                    <a:pt x="0" y="1469"/>
                    <a:pt x="153" y="1298"/>
                    <a:pt x="369" y="1281"/>
                  </a:cubicBezTo>
                  <a:cubicBezTo>
                    <a:pt x="609" y="1262"/>
                    <a:pt x="808" y="1445"/>
                    <a:pt x="809" y="1689"/>
                  </a:cubicBezTo>
                  <a:cubicBezTo>
                    <a:pt x="810" y="1741"/>
                    <a:pt x="816" y="1788"/>
                    <a:pt x="822" y="1794"/>
                  </a:cubicBezTo>
                  <a:cubicBezTo>
                    <a:pt x="845" y="1814"/>
                    <a:pt x="1018" y="1852"/>
                    <a:pt x="1049" y="1843"/>
                  </a:cubicBezTo>
                  <a:cubicBezTo>
                    <a:pt x="1070" y="1837"/>
                    <a:pt x="1116" y="1784"/>
                    <a:pt x="1184" y="1689"/>
                  </a:cubicBezTo>
                  <a:cubicBezTo>
                    <a:pt x="1284" y="1547"/>
                    <a:pt x="1297" y="1520"/>
                    <a:pt x="1340" y="1367"/>
                  </a:cubicBezTo>
                  <a:cubicBezTo>
                    <a:pt x="1362" y="1287"/>
                    <a:pt x="1433" y="1162"/>
                    <a:pt x="1496" y="1092"/>
                  </a:cubicBezTo>
                  <a:cubicBezTo>
                    <a:pt x="1538" y="1045"/>
                    <a:pt x="1595" y="1023"/>
                    <a:pt x="1689" y="1017"/>
                  </a:cubicBezTo>
                  <a:cubicBezTo>
                    <a:pt x="1718" y="1016"/>
                    <a:pt x="1749" y="1008"/>
                    <a:pt x="1759" y="1001"/>
                  </a:cubicBezTo>
                  <a:cubicBezTo>
                    <a:pt x="1783" y="982"/>
                    <a:pt x="1826" y="958"/>
                    <a:pt x="1864" y="940"/>
                  </a:cubicBezTo>
                  <a:cubicBezTo>
                    <a:pt x="1959" y="897"/>
                    <a:pt x="1988" y="882"/>
                    <a:pt x="1997" y="870"/>
                  </a:cubicBezTo>
                  <a:cubicBezTo>
                    <a:pt x="2002" y="863"/>
                    <a:pt x="2006" y="803"/>
                    <a:pt x="2006" y="737"/>
                  </a:cubicBezTo>
                  <a:cubicBezTo>
                    <a:pt x="2007" y="623"/>
                    <a:pt x="2005" y="616"/>
                    <a:pt x="1976" y="605"/>
                  </a:cubicBezTo>
                  <a:cubicBezTo>
                    <a:pt x="1921" y="584"/>
                    <a:pt x="1897" y="448"/>
                    <a:pt x="1944" y="422"/>
                  </a:cubicBezTo>
                  <a:cubicBezTo>
                    <a:pt x="1957" y="415"/>
                    <a:pt x="1965" y="391"/>
                    <a:pt x="1966" y="355"/>
                  </a:cubicBezTo>
                  <a:cubicBezTo>
                    <a:pt x="1967" y="257"/>
                    <a:pt x="1994" y="202"/>
                    <a:pt x="2065" y="148"/>
                  </a:cubicBezTo>
                  <a:cubicBezTo>
                    <a:pt x="2259" y="0"/>
                    <a:pt x="2465" y="54"/>
                    <a:pt x="2531" y="271"/>
                  </a:cubicBezTo>
                  <a:cubicBezTo>
                    <a:pt x="2556" y="355"/>
                    <a:pt x="2534" y="655"/>
                    <a:pt x="2500" y="682"/>
                  </a:cubicBezTo>
                  <a:cubicBezTo>
                    <a:pt x="2480" y="699"/>
                    <a:pt x="2426" y="811"/>
                    <a:pt x="2437" y="817"/>
                  </a:cubicBezTo>
                  <a:cubicBezTo>
                    <a:pt x="2456" y="828"/>
                    <a:pt x="2575" y="864"/>
                    <a:pt x="2591" y="864"/>
                  </a:cubicBezTo>
                  <a:cubicBezTo>
                    <a:pt x="2603" y="864"/>
                    <a:pt x="2619" y="872"/>
                    <a:pt x="2628" y="883"/>
                  </a:cubicBezTo>
                  <a:cubicBezTo>
                    <a:pt x="2637" y="894"/>
                    <a:pt x="2658" y="902"/>
                    <a:pt x="2675" y="902"/>
                  </a:cubicBezTo>
                  <a:cubicBezTo>
                    <a:pt x="2692" y="902"/>
                    <a:pt x="2706" y="907"/>
                    <a:pt x="2706" y="912"/>
                  </a:cubicBezTo>
                  <a:cubicBezTo>
                    <a:pt x="2706" y="918"/>
                    <a:pt x="2722" y="924"/>
                    <a:pt x="2741" y="925"/>
                  </a:cubicBezTo>
                  <a:cubicBezTo>
                    <a:pt x="2764" y="927"/>
                    <a:pt x="2795" y="946"/>
                    <a:pt x="2823" y="977"/>
                  </a:cubicBezTo>
                  <a:cubicBezTo>
                    <a:pt x="2848" y="1003"/>
                    <a:pt x="2891" y="1037"/>
                    <a:pt x="2918" y="1051"/>
                  </a:cubicBezTo>
                  <a:cubicBezTo>
                    <a:pt x="3000" y="1095"/>
                    <a:pt x="3078" y="1191"/>
                    <a:pt x="3108" y="1289"/>
                  </a:cubicBezTo>
                  <a:cubicBezTo>
                    <a:pt x="3122" y="1336"/>
                    <a:pt x="3163" y="1419"/>
                    <a:pt x="3199" y="1474"/>
                  </a:cubicBezTo>
                  <a:cubicBezTo>
                    <a:pt x="3235" y="1528"/>
                    <a:pt x="3282" y="1615"/>
                    <a:pt x="3303" y="1667"/>
                  </a:cubicBezTo>
                  <a:cubicBezTo>
                    <a:pt x="3325" y="1719"/>
                    <a:pt x="3354" y="1773"/>
                    <a:pt x="3368" y="1787"/>
                  </a:cubicBezTo>
                  <a:cubicBezTo>
                    <a:pt x="3381" y="1802"/>
                    <a:pt x="3392" y="1824"/>
                    <a:pt x="3392" y="1836"/>
                  </a:cubicBezTo>
                  <a:cubicBezTo>
                    <a:pt x="3392" y="1848"/>
                    <a:pt x="3401" y="1874"/>
                    <a:pt x="3411" y="1895"/>
                  </a:cubicBezTo>
                  <a:cubicBezTo>
                    <a:pt x="3441" y="1952"/>
                    <a:pt x="3436" y="2052"/>
                    <a:pt x="3401" y="2111"/>
                  </a:cubicBezTo>
                  <a:cubicBezTo>
                    <a:pt x="3364" y="2172"/>
                    <a:pt x="3209" y="2279"/>
                    <a:pt x="3114" y="2309"/>
                  </a:cubicBezTo>
                  <a:cubicBezTo>
                    <a:pt x="3046" y="2330"/>
                    <a:pt x="3042" y="2334"/>
                    <a:pt x="3022" y="2397"/>
                  </a:cubicBezTo>
                  <a:cubicBezTo>
                    <a:pt x="3010" y="2433"/>
                    <a:pt x="2987" y="2488"/>
                    <a:pt x="2970" y="2519"/>
                  </a:cubicBezTo>
                  <a:cubicBezTo>
                    <a:pt x="2936" y="2582"/>
                    <a:pt x="2930" y="2657"/>
                    <a:pt x="2956" y="2696"/>
                  </a:cubicBezTo>
                  <a:cubicBezTo>
                    <a:pt x="2980" y="2732"/>
                    <a:pt x="3024" y="2883"/>
                    <a:pt x="3049" y="3013"/>
                  </a:cubicBezTo>
                  <a:cubicBezTo>
                    <a:pt x="3060" y="3074"/>
                    <a:pt x="3079" y="3148"/>
                    <a:pt x="3090" y="3179"/>
                  </a:cubicBezTo>
                  <a:cubicBezTo>
                    <a:pt x="3108" y="3227"/>
                    <a:pt x="3109" y="3253"/>
                    <a:pt x="3097" y="3362"/>
                  </a:cubicBezTo>
                  <a:cubicBezTo>
                    <a:pt x="3090" y="3435"/>
                    <a:pt x="3072" y="3516"/>
                    <a:pt x="3057" y="3551"/>
                  </a:cubicBezTo>
                  <a:cubicBezTo>
                    <a:pt x="3037" y="3594"/>
                    <a:pt x="3029" y="3641"/>
                    <a:pt x="3029" y="3711"/>
                  </a:cubicBezTo>
                  <a:cubicBezTo>
                    <a:pt x="3028" y="3765"/>
                    <a:pt x="3021" y="3869"/>
                    <a:pt x="3012" y="3942"/>
                  </a:cubicBezTo>
                  <a:cubicBezTo>
                    <a:pt x="2998" y="4059"/>
                    <a:pt x="2999" y="4074"/>
                    <a:pt x="3017" y="4079"/>
                  </a:cubicBezTo>
                  <a:cubicBezTo>
                    <a:pt x="3058" y="4090"/>
                    <a:pt x="3106" y="4033"/>
                    <a:pt x="3120" y="3958"/>
                  </a:cubicBezTo>
                  <a:cubicBezTo>
                    <a:pt x="3136" y="3874"/>
                    <a:pt x="3173" y="3831"/>
                    <a:pt x="3239" y="3821"/>
                  </a:cubicBezTo>
                  <a:cubicBezTo>
                    <a:pt x="3352" y="3802"/>
                    <a:pt x="3444" y="3905"/>
                    <a:pt x="3452" y="4058"/>
                  </a:cubicBezTo>
                  <a:cubicBezTo>
                    <a:pt x="3456" y="4141"/>
                    <a:pt x="3497" y="4256"/>
                    <a:pt x="3523" y="4256"/>
                  </a:cubicBezTo>
                  <a:cubicBezTo>
                    <a:pt x="3544" y="4256"/>
                    <a:pt x="3585" y="4338"/>
                    <a:pt x="3600" y="4408"/>
                  </a:cubicBezTo>
                  <a:cubicBezTo>
                    <a:pt x="3630" y="4551"/>
                    <a:pt x="3563" y="4791"/>
                    <a:pt x="3482" y="4833"/>
                  </a:cubicBezTo>
                  <a:cubicBezTo>
                    <a:pt x="3387" y="4882"/>
                    <a:pt x="3320" y="4833"/>
                    <a:pt x="3276" y="4683"/>
                  </a:cubicBezTo>
                  <a:cubicBezTo>
                    <a:pt x="3236" y="4543"/>
                    <a:pt x="3225" y="4520"/>
                    <a:pt x="3178" y="4469"/>
                  </a:cubicBezTo>
                  <a:lnTo>
                    <a:pt x="3136" y="4423"/>
                  </a:lnTo>
                  <a:lnTo>
                    <a:pt x="3094" y="4476"/>
                  </a:lnTo>
                  <a:cubicBezTo>
                    <a:pt x="3071" y="4505"/>
                    <a:pt x="3029" y="4541"/>
                    <a:pt x="3000" y="4556"/>
                  </a:cubicBezTo>
                  <a:cubicBezTo>
                    <a:pt x="2971" y="4571"/>
                    <a:pt x="2916" y="4603"/>
                    <a:pt x="2879" y="4628"/>
                  </a:cubicBezTo>
                  <a:cubicBezTo>
                    <a:pt x="2781" y="4693"/>
                    <a:pt x="2731" y="4702"/>
                    <a:pt x="2677" y="4662"/>
                  </a:cubicBezTo>
                  <a:cubicBezTo>
                    <a:pt x="2578" y="4589"/>
                    <a:pt x="2513" y="4514"/>
                    <a:pt x="2505" y="4466"/>
                  </a:cubicBezTo>
                  <a:cubicBezTo>
                    <a:pt x="2501" y="4440"/>
                    <a:pt x="2489" y="4402"/>
                    <a:pt x="2479" y="4381"/>
                  </a:cubicBezTo>
                  <a:cubicBezTo>
                    <a:pt x="2468" y="4361"/>
                    <a:pt x="2460" y="4330"/>
                    <a:pt x="2460" y="4311"/>
                  </a:cubicBezTo>
                  <a:cubicBezTo>
                    <a:pt x="2460" y="4293"/>
                    <a:pt x="2451" y="4268"/>
                    <a:pt x="2439" y="4255"/>
                  </a:cubicBezTo>
                  <a:cubicBezTo>
                    <a:pt x="2428" y="4243"/>
                    <a:pt x="2417" y="4219"/>
                    <a:pt x="2415" y="4202"/>
                  </a:cubicBezTo>
                  <a:cubicBezTo>
                    <a:pt x="2413" y="4186"/>
                    <a:pt x="2402" y="4128"/>
                    <a:pt x="2389" y="4075"/>
                  </a:cubicBezTo>
                  <a:cubicBezTo>
                    <a:pt x="2370" y="3994"/>
                    <a:pt x="2358" y="3971"/>
                    <a:pt x="2320" y="3937"/>
                  </a:cubicBezTo>
                  <a:lnTo>
                    <a:pt x="2274" y="3897"/>
                  </a:lnTo>
                  <a:lnTo>
                    <a:pt x="2217" y="4008"/>
                  </a:lnTo>
                  <a:cubicBezTo>
                    <a:pt x="2186" y="4070"/>
                    <a:pt x="2147" y="4132"/>
                    <a:pt x="2130" y="4146"/>
                  </a:cubicBezTo>
                  <a:cubicBezTo>
                    <a:pt x="2113" y="4160"/>
                    <a:pt x="2093" y="4198"/>
                    <a:pt x="2085" y="4230"/>
                  </a:cubicBezTo>
                  <a:cubicBezTo>
                    <a:pt x="2062" y="4317"/>
                    <a:pt x="2041" y="4373"/>
                    <a:pt x="2031" y="4373"/>
                  </a:cubicBezTo>
                  <a:cubicBezTo>
                    <a:pt x="2026" y="4373"/>
                    <a:pt x="2025" y="4383"/>
                    <a:pt x="2028" y="4396"/>
                  </a:cubicBezTo>
                  <a:cubicBezTo>
                    <a:pt x="2031" y="4408"/>
                    <a:pt x="2010" y="4465"/>
                    <a:pt x="1981" y="4522"/>
                  </a:cubicBezTo>
                  <a:lnTo>
                    <a:pt x="1929" y="4625"/>
                  </a:lnTo>
                  <a:lnTo>
                    <a:pt x="1929" y="4797"/>
                  </a:lnTo>
                  <a:cubicBezTo>
                    <a:pt x="1929" y="4983"/>
                    <a:pt x="1908" y="5076"/>
                    <a:pt x="1845" y="5173"/>
                  </a:cubicBezTo>
                  <a:cubicBezTo>
                    <a:pt x="1829" y="5200"/>
                    <a:pt x="1805" y="5271"/>
                    <a:pt x="1792" y="5331"/>
                  </a:cubicBezTo>
                  <a:cubicBezTo>
                    <a:pt x="1780" y="5392"/>
                    <a:pt x="1766" y="5446"/>
                    <a:pt x="1761" y="5451"/>
                  </a:cubicBezTo>
                  <a:cubicBezTo>
                    <a:pt x="1756" y="5457"/>
                    <a:pt x="1756" y="5492"/>
                    <a:pt x="1762" y="5530"/>
                  </a:cubicBezTo>
                  <a:cubicBezTo>
                    <a:pt x="1770" y="5578"/>
                    <a:pt x="1767" y="5627"/>
                    <a:pt x="1752" y="5701"/>
                  </a:cubicBezTo>
                  <a:cubicBezTo>
                    <a:pt x="1726" y="5826"/>
                    <a:pt x="1725" y="5930"/>
                    <a:pt x="1746" y="6050"/>
                  </a:cubicBezTo>
                  <a:cubicBezTo>
                    <a:pt x="1778" y="6230"/>
                    <a:pt x="1778" y="6242"/>
                    <a:pt x="1748" y="6269"/>
                  </a:cubicBezTo>
                  <a:cubicBezTo>
                    <a:pt x="1710" y="6304"/>
                    <a:pt x="1525" y="6312"/>
                    <a:pt x="1472" y="628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1982142" y="1563615"/>
            <a:ext cx="951744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b="1" dirty="0">
                <a:solidFill>
                  <a:srgbClr val="00B0F0"/>
                </a:solidFill>
              </a:rPr>
              <a:t>В целях развития физического здоровья </a:t>
            </a:r>
            <a:r>
              <a:rPr lang="kk-KZ" sz="2000" b="1" dirty="0">
                <a:solidFill>
                  <a:srgbClr val="00B0F0"/>
                </a:solidFill>
              </a:rPr>
              <a:t>обучающихся </a:t>
            </a:r>
            <a:r>
              <a:rPr lang="ru-RU" sz="2000" b="1" dirty="0">
                <a:solidFill>
                  <a:srgbClr val="00B0F0"/>
                </a:solidFill>
              </a:rPr>
              <a:t>в </a:t>
            </a:r>
            <a:r>
              <a:rPr lang="ru-RU" sz="2000" b="1" dirty="0" err="1">
                <a:solidFill>
                  <a:srgbClr val="00B0F0"/>
                </a:solidFill>
              </a:rPr>
              <a:t>КазНМУ</a:t>
            </a:r>
            <a:r>
              <a:rPr lang="ru-RU" sz="2000" b="1" dirty="0">
                <a:solidFill>
                  <a:srgbClr val="00B0F0"/>
                </a:solidFill>
              </a:rPr>
              <a:t> действуют 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kk-KZ" sz="2000" b="1" dirty="0">
                <a:solidFill>
                  <a:schemeClr val="bg1"/>
                </a:solidFill>
              </a:rPr>
              <a:t>1</a:t>
            </a:r>
            <a:r>
              <a:rPr lang="ru-RU" sz="2000" b="1" i="1" dirty="0">
                <a:solidFill>
                  <a:srgbClr val="00B0F0"/>
                </a:solidFill>
              </a:rPr>
              <a:t> спортивных секций</a:t>
            </a:r>
            <a:r>
              <a:rPr lang="kk-KZ" sz="2000" b="1" i="1" dirty="0">
                <a:solidFill>
                  <a:srgbClr val="00B0F0"/>
                </a:solidFill>
              </a:rPr>
              <a:t>: </a:t>
            </a:r>
            <a:r>
              <a:rPr lang="kk-KZ" sz="2000" b="1" dirty="0">
                <a:solidFill>
                  <a:srgbClr val="00B0F0"/>
                </a:solidFill>
              </a:rPr>
              <a:t>в</a:t>
            </a:r>
            <a:r>
              <a:rPr lang="ru-RU" sz="2000" b="1" dirty="0" err="1">
                <a:solidFill>
                  <a:srgbClr val="00B0F0"/>
                </a:solidFill>
              </a:rPr>
              <a:t>олейбол</a:t>
            </a:r>
            <a:r>
              <a:rPr lang="kk-KZ" sz="2000" b="1" dirty="0">
                <a:solidFill>
                  <a:srgbClr val="00B0F0"/>
                </a:solidFill>
              </a:rPr>
              <a:t>, б</a:t>
            </a:r>
            <a:r>
              <a:rPr lang="ru-RU" sz="2000" b="1" dirty="0" err="1">
                <a:solidFill>
                  <a:srgbClr val="00B0F0"/>
                </a:solidFill>
              </a:rPr>
              <a:t>аскетбол</a:t>
            </a:r>
            <a:r>
              <a:rPr lang="kk-KZ" sz="2000" b="1" dirty="0">
                <a:solidFill>
                  <a:srgbClr val="00B0F0"/>
                </a:solidFill>
              </a:rPr>
              <a:t>, н</a:t>
            </a:r>
            <a:r>
              <a:rPr lang="ru-RU" sz="2000" b="1" dirty="0" err="1">
                <a:solidFill>
                  <a:srgbClr val="00B0F0"/>
                </a:solidFill>
              </a:rPr>
              <a:t>астольный</a:t>
            </a:r>
            <a:r>
              <a:rPr lang="ru-RU" sz="2000" b="1" dirty="0">
                <a:solidFill>
                  <a:srgbClr val="00B0F0"/>
                </a:solidFill>
              </a:rPr>
              <a:t> теннис</a:t>
            </a:r>
            <a:r>
              <a:rPr lang="kk-KZ" sz="2000" b="1" dirty="0">
                <a:solidFill>
                  <a:srgbClr val="00B0F0"/>
                </a:solidFill>
              </a:rPr>
              <a:t>, греко-римская</a:t>
            </a:r>
            <a:r>
              <a:rPr lang="ru-RU" sz="2000" b="1" dirty="0">
                <a:solidFill>
                  <a:srgbClr val="00B0F0"/>
                </a:solidFill>
              </a:rPr>
              <a:t> борьба</a:t>
            </a:r>
            <a:r>
              <a:rPr lang="kk-KZ" sz="2000" b="1" dirty="0">
                <a:solidFill>
                  <a:srgbClr val="00B0F0"/>
                </a:solidFill>
              </a:rPr>
              <a:t>, мини ф</a:t>
            </a:r>
            <a:r>
              <a:rPr lang="ru-RU" sz="2000" b="1" dirty="0" err="1">
                <a:solidFill>
                  <a:srgbClr val="00B0F0"/>
                </a:solidFill>
              </a:rPr>
              <a:t>утбол</a:t>
            </a:r>
            <a:r>
              <a:rPr lang="kk-KZ" sz="2000" b="1" dirty="0">
                <a:solidFill>
                  <a:srgbClr val="00B0F0"/>
                </a:solidFill>
              </a:rPr>
              <a:t>, тоғыз құмалақ, б</a:t>
            </a:r>
            <a:r>
              <a:rPr lang="ru-RU" sz="2000" b="1" dirty="0" err="1">
                <a:solidFill>
                  <a:srgbClr val="00B0F0"/>
                </a:solidFill>
              </a:rPr>
              <a:t>окс</a:t>
            </a:r>
            <a:r>
              <a:rPr lang="kk-KZ" sz="2000" b="1" dirty="0">
                <a:solidFill>
                  <a:srgbClr val="00B0F0"/>
                </a:solidFill>
              </a:rPr>
              <a:t>, қазақ күресі, где занимаются около </a:t>
            </a:r>
            <a:r>
              <a:rPr lang="kk-KZ" sz="2000" b="1" dirty="0">
                <a:solidFill>
                  <a:schemeClr val="bg1"/>
                </a:solidFill>
              </a:rPr>
              <a:t>117</a:t>
            </a:r>
            <a:r>
              <a:rPr lang="kk-KZ" sz="2000" b="1" dirty="0">
                <a:solidFill>
                  <a:srgbClr val="00B0F0"/>
                </a:solidFill>
              </a:rPr>
              <a:t> человек.</a:t>
            </a:r>
          </a:p>
          <a:p>
            <a:pPr algn="just"/>
            <a:r>
              <a:rPr lang="kk-KZ" sz="2000" b="1" dirty="0">
                <a:solidFill>
                  <a:srgbClr val="00B0F0"/>
                </a:solidFill>
              </a:rPr>
              <a:t>А также функционировали временные спортивные секции для участия в соревнованиях 11-летней Универсиады РК, такие как пляжный волейбол, бадминтон, дзюдо, плавание, гандбол, стрельба из лука, фехтование, где прошли подготовку </a:t>
            </a:r>
            <a:r>
              <a:rPr lang="kk-KZ" sz="2000" b="1" dirty="0">
                <a:solidFill>
                  <a:schemeClr val="bg1"/>
                </a:solidFill>
              </a:rPr>
              <a:t>74 </a:t>
            </a:r>
            <a:r>
              <a:rPr lang="kk-KZ" sz="2000" b="1" dirty="0">
                <a:solidFill>
                  <a:srgbClr val="00B0F0"/>
                </a:solidFill>
              </a:rPr>
              <a:t>студента. </a:t>
            </a:r>
            <a:endParaRPr lang="ru-RU" sz="2000" b="1" dirty="0">
              <a:solidFill>
                <a:srgbClr val="00B0F0"/>
              </a:solidFill>
            </a:endParaRPr>
          </a:p>
        </p:txBody>
      </p:sp>
      <p:grpSp>
        <p:nvGrpSpPr>
          <p:cNvPr id="30" name="Award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133D999-A049-43CA-B065-3AE057C88F8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15477" y="4645878"/>
            <a:ext cx="816592" cy="1286608"/>
            <a:chOff x="2585735" y="108789"/>
            <a:chExt cx="344587" cy="542925"/>
          </a:xfrm>
          <a:solidFill>
            <a:srgbClr val="00B0F0"/>
          </a:solidFill>
        </p:grpSpPr>
        <p:sp>
          <p:nvSpPr>
            <p:cNvPr id="31" name="Freeform: Shape 206">
              <a:extLst>
                <a:ext uri="{FF2B5EF4-FFF2-40B4-BE49-F238E27FC236}">
                  <a16:creationId xmlns:a16="http://schemas.microsoft.com/office/drawing/2014/main" id="{B7499D92-5C6F-4273-851C-2FA3688B9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5735" y="108789"/>
              <a:ext cx="344587" cy="344988"/>
            </a:xfrm>
            <a:custGeom>
              <a:avLst/>
              <a:gdLst>
                <a:gd name="connsiteX0" fmla="*/ 167961 w 344587"/>
                <a:gd name="connsiteY0" fmla="*/ 276672 h 344988"/>
                <a:gd name="connsiteX1" fmla="*/ 168781 w 344587"/>
                <a:gd name="connsiteY1" fmla="*/ 281441 h 344988"/>
                <a:gd name="connsiteX2" fmla="*/ 165282 w 344587"/>
                <a:gd name="connsiteY2" fmla="*/ 284827 h 344988"/>
                <a:gd name="connsiteX3" fmla="*/ 170121 w 344587"/>
                <a:gd name="connsiteY3" fmla="*/ 285532 h 344988"/>
                <a:gd name="connsiteX4" fmla="*/ 172307 w 344587"/>
                <a:gd name="connsiteY4" fmla="*/ 289894 h 344988"/>
                <a:gd name="connsiteX5" fmla="*/ 174467 w 344587"/>
                <a:gd name="connsiteY5" fmla="*/ 285532 h 344988"/>
                <a:gd name="connsiteX6" fmla="*/ 179306 w 344587"/>
                <a:gd name="connsiteY6" fmla="*/ 284827 h 344988"/>
                <a:gd name="connsiteX7" fmla="*/ 175806 w 344587"/>
                <a:gd name="connsiteY7" fmla="*/ 281441 h 344988"/>
                <a:gd name="connsiteX8" fmla="*/ 176627 w 344587"/>
                <a:gd name="connsiteY8" fmla="*/ 276672 h 344988"/>
                <a:gd name="connsiteX9" fmla="*/ 172307 w 344587"/>
                <a:gd name="connsiteY9" fmla="*/ 278921 h 344988"/>
                <a:gd name="connsiteX10" fmla="*/ 194527 w 344587"/>
                <a:gd name="connsiteY10" fmla="*/ 274468 h 344988"/>
                <a:gd name="connsiteX11" fmla="*/ 190704 w 344587"/>
                <a:gd name="connsiteY11" fmla="*/ 277391 h 344988"/>
                <a:gd name="connsiteX12" fmla="*/ 186127 w 344587"/>
                <a:gd name="connsiteY12" fmla="*/ 275943 h 344988"/>
                <a:gd name="connsiteX13" fmla="*/ 187742 w 344587"/>
                <a:gd name="connsiteY13" fmla="*/ 280475 h 344988"/>
                <a:gd name="connsiteX14" fmla="*/ 184915 w 344587"/>
                <a:gd name="connsiteY14" fmla="*/ 284363 h 344988"/>
                <a:gd name="connsiteX15" fmla="*/ 189761 w 344587"/>
                <a:gd name="connsiteY15" fmla="*/ 284229 h 344988"/>
                <a:gd name="connsiteX16" fmla="*/ 192615 w 344587"/>
                <a:gd name="connsiteY16" fmla="*/ 288091 h 344988"/>
                <a:gd name="connsiteX17" fmla="*/ 193961 w 344587"/>
                <a:gd name="connsiteY17" fmla="*/ 283479 h 344988"/>
                <a:gd name="connsiteX18" fmla="*/ 198538 w 344587"/>
                <a:gd name="connsiteY18" fmla="*/ 281977 h 344988"/>
                <a:gd name="connsiteX19" fmla="*/ 194554 w 344587"/>
                <a:gd name="connsiteY19" fmla="*/ 279268 h 344988"/>
                <a:gd name="connsiteX20" fmla="*/ 149919 w 344587"/>
                <a:gd name="connsiteY20" fmla="*/ 274468 h 344988"/>
                <a:gd name="connsiteX21" fmla="*/ 149892 w 344587"/>
                <a:gd name="connsiteY21" fmla="*/ 279268 h 344988"/>
                <a:gd name="connsiteX22" fmla="*/ 145849 w 344587"/>
                <a:gd name="connsiteY22" fmla="*/ 281977 h 344988"/>
                <a:gd name="connsiteX23" fmla="*/ 150493 w 344587"/>
                <a:gd name="connsiteY23" fmla="*/ 283479 h 344988"/>
                <a:gd name="connsiteX24" fmla="*/ 151859 w 344587"/>
                <a:gd name="connsiteY24" fmla="*/ 288091 h 344988"/>
                <a:gd name="connsiteX25" fmla="*/ 154755 w 344587"/>
                <a:gd name="connsiteY25" fmla="*/ 284229 h 344988"/>
                <a:gd name="connsiteX26" fmla="*/ 159672 w 344587"/>
                <a:gd name="connsiteY26" fmla="*/ 284363 h 344988"/>
                <a:gd name="connsiteX27" fmla="*/ 156804 w 344587"/>
                <a:gd name="connsiteY27" fmla="*/ 280475 h 344988"/>
                <a:gd name="connsiteX28" fmla="*/ 158443 w 344587"/>
                <a:gd name="connsiteY28" fmla="*/ 275943 h 344988"/>
                <a:gd name="connsiteX29" fmla="*/ 153798 w 344587"/>
                <a:gd name="connsiteY29" fmla="*/ 277391 h 344988"/>
                <a:gd name="connsiteX30" fmla="*/ 211844 w 344587"/>
                <a:gd name="connsiteY30" fmla="*/ 268858 h 344988"/>
                <a:gd name="connsiteX31" fmla="*/ 208584 w 344587"/>
                <a:gd name="connsiteY31" fmla="*/ 272467 h 344988"/>
                <a:gd name="connsiteX32" fmla="*/ 203747 w 344587"/>
                <a:gd name="connsiteY32" fmla="*/ 271811 h 344988"/>
                <a:gd name="connsiteX33" fmla="*/ 206165 w 344587"/>
                <a:gd name="connsiteY33" fmla="*/ 276075 h 344988"/>
                <a:gd name="connsiteX34" fmla="*/ 204046 w 344587"/>
                <a:gd name="connsiteY34" fmla="*/ 280504 h 344988"/>
                <a:gd name="connsiteX35" fmla="*/ 208828 w 344587"/>
                <a:gd name="connsiteY35" fmla="*/ 279492 h 344988"/>
                <a:gd name="connsiteX36" fmla="*/ 212334 w 344587"/>
                <a:gd name="connsiteY36" fmla="*/ 282882 h 344988"/>
                <a:gd name="connsiteX37" fmla="*/ 212877 w 344587"/>
                <a:gd name="connsiteY37" fmla="*/ 278016 h 344988"/>
                <a:gd name="connsiteX38" fmla="*/ 217170 w 344587"/>
                <a:gd name="connsiteY38" fmla="*/ 275693 h 344988"/>
                <a:gd name="connsiteX39" fmla="*/ 212714 w 344587"/>
                <a:gd name="connsiteY39" fmla="*/ 273670 h 344988"/>
                <a:gd name="connsiteX40" fmla="*/ 132663 w 344587"/>
                <a:gd name="connsiteY40" fmla="*/ 268858 h 344988"/>
                <a:gd name="connsiteX41" fmla="*/ 131807 w 344587"/>
                <a:gd name="connsiteY41" fmla="*/ 273670 h 344988"/>
                <a:gd name="connsiteX42" fmla="*/ 127417 w 344587"/>
                <a:gd name="connsiteY42" fmla="*/ 275693 h 344988"/>
                <a:gd name="connsiteX43" fmla="*/ 131646 w 344587"/>
                <a:gd name="connsiteY43" fmla="*/ 278016 h 344988"/>
                <a:gd name="connsiteX44" fmla="*/ 132182 w 344587"/>
                <a:gd name="connsiteY44" fmla="*/ 282882 h 344988"/>
                <a:gd name="connsiteX45" fmla="*/ 135635 w 344587"/>
                <a:gd name="connsiteY45" fmla="*/ 279492 h 344988"/>
                <a:gd name="connsiteX46" fmla="*/ 140345 w 344587"/>
                <a:gd name="connsiteY46" fmla="*/ 280504 h 344988"/>
                <a:gd name="connsiteX47" fmla="*/ 138258 w 344587"/>
                <a:gd name="connsiteY47" fmla="*/ 276075 h 344988"/>
                <a:gd name="connsiteX48" fmla="*/ 140640 w 344587"/>
                <a:gd name="connsiteY48" fmla="*/ 271811 h 344988"/>
                <a:gd name="connsiteX49" fmla="*/ 135875 w 344587"/>
                <a:gd name="connsiteY49" fmla="*/ 272467 h 344988"/>
                <a:gd name="connsiteX50" fmla="*/ 228015 w 344587"/>
                <a:gd name="connsiteY50" fmla="*/ 260644 h 344988"/>
                <a:gd name="connsiteX51" fmla="*/ 225418 w 344587"/>
                <a:gd name="connsiteY51" fmla="*/ 264769 h 344988"/>
                <a:gd name="connsiteX52" fmla="*/ 220576 w 344587"/>
                <a:gd name="connsiteY52" fmla="*/ 264959 h 344988"/>
                <a:gd name="connsiteX53" fmla="*/ 223687 w 344587"/>
                <a:gd name="connsiteY53" fmla="*/ 268704 h 344988"/>
                <a:gd name="connsiteX54" fmla="*/ 222361 w 344587"/>
                <a:gd name="connsiteY54" fmla="*/ 273372 h 344988"/>
                <a:gd name="connsiteX55" fmla="*/ 226879 w 344587"/>
                <a:gd name="connsiteY55" fmla="*/ 271581 h 344988"/>
                <a:gd name="connsiteX56" fmla="*/ 230910 w 344587"/>
                <a:gd name="connsiteY56" fmla="*/ 274268 h 344988"/>
                <a:gd name="connsiteX57" fmla="*/ 230585 w 344587"/>
                <a:gd name="connsiteY57" fmla="*/ 269410 h 344988"/>
                <a:gd name="connsiteX58" fmla="*/ 234399 w 344587"/>
                <a:gd name="connsiteY58" fmla="*/ 266398 h 344988"/>
                <a:gd name="connsiteX59" fmla="*/ 229692 w 344587"/>
                <a:gd name="connsiteY59" fmla="*/ 265204 h 344988"/>
                <a:gd name="connsiteX60" fmla="*/ 116572 w 344587"/>
                <a:gd name="connsiteY60" fmla="*/ 260644 h 344988"/>
                <a:gd name="connsiteX61" fmla="*/ 114895 w 344587"/>
                <a:gd name="connsiteY61" fmla="*/ 265204 h 344988"/>
                <a:gd name="connsiteX62" fmla="*/ 110188 w 344587"/>
                <a:gd name="connsiteY62" fmla="*/ 266398 h 344988"/>
                <a:gd name="connsiteX63" fmla="*/ 114002 w 344587"/>
                <a:gd name="connsiteY63" fmla="*/ 269410 h 344988"/>
                <a:gd name="connsiteX64" fmla="*/ 113678 w 344587"/>
                <a:gd name="connsiteY64" fmla="*/ 274268 h 344988"/>
                <a:gd name="connsiteX65" fmla="*/ 117708 w 344587"/>
                <a:gd name="connsiteY65" fmla="*/ 271581 h 344988"/>
                <a:gd name="connsiteX66" fmla="*/ 122226 w 344587"/>
                <a:gd name="connsiteY66" fmla="*/ 273372 h 344988"/>
                <a:gd name="connsiteX67" fmla="*/ 120900 w 344587"/>
                <a:gd name="connsiteY67" fmla="*/ 268704 h 344988"/>
                <a:gd name="connsiteX68" fmla="*/ 124011 w 344587"/>
                <a:gd name="connsiteY68" fmla="*/ 264959 h 344988"/>
                <a:gd name="connsiteX69" fmla="*/ 119169 w 344587"/>
                <a:gd name="connsiteY69" fmla="*/ 264769 h 344988"/>
                <a:gd name="connsiteX70" fmla="*/ 242363 w 344587"/>
                <a:gd name="connsiteY70" fmla="*/ 249625 h 344988"/>
                <a:gd name="connsiteX71" fmla="*/ 240527 w 344587"/>
                <a:gd name="connsiteY71" fmla="*/ 254100 h 344988"/>
                <a:gd name="connsiteX72" fmla="*/ 235802 w 344587"/>
                <a:gd name="connsiteY72" fmla="*/ 255124 h 344988"/>
                <a:gd name="connsiteX73" fmla="*/ 239501 w 344587"/>
                <a:gd name="connsiteY73" fmla="*/ 258251 h 344988"/>
                <a:gd name="connsiteX74" fmla="*/ 239015 w 344587"/>
                <a:gd name="connsiteY74" fmla="*/ 263048 h 344988"/>
                <a:gd name="connsiteX75" fmla="*/ 243119 w 344587"/>
                <a:gd name="connsiteY75" fmla="*/ 260515 h 344988"/>
                <a:gd name="connsiteX76" fmla="*/ 247546 w 344587"/>
                <a:gd name="connsiteY76" fmla="*/ 262455 h 344988"/>
                <a:gd name="connsiteX77" fmla="*/ 246413 w 344587"/>
                <a:gd name="connsiteY77" fmla="*/ 257766 h 344988"/>
                <a:gd name="connsiteX78" fmla="*/ 249625 w 344587"/>
                <a:gd name="connsiteY78" fmla="*/ 254154 h 344988"/>
                <a:gd name="connsiteX79" fmla="*/ 244792 w 344587"/>
                <a:gd name="connsiteY79" fmla="*/ 253776 h 344988"/>
                <a:gd name="connsiteX80" fmla="*/ 102024 w 344587"/>
                <a:gd name="connsiteY80" fmla="*/ 249625 h 344988"/>
                <a:gd name="connsiteX81" fmla="*/ 99594 w 344587"/>
                <a:gd name="connsiteY81" fmla="*/ 253776 h 344988"/>
                <a:gd name="connsiteX82" fmla="*/ 94762 w 344587"/>
                <a:gd name="connsiteY82" fmla="*/ 254154 h 344988"/>
                <a:gd name="connsiteX83" fmla="*/ 97975 w 344587"/>
                <a:gd name="connsiteY83" fmla="*/ 257766 h 344988"/>
                <a:gd name="connsiteX84" fmla="*/ 96841 w 344587"/>
                <a:gd name="connsiteY84" fmla="*/ 262455 h 344988"/>
                <a:gd name="connsiteX85" fmla="*/ 101268 w 344587"/>
                <a:gd name="connsiteY85" fmla="*/ 260515 h 344988"/>
                <a:gd name="connsiteX86" fmla="*/ 105372 w 344587"/>
                <a:gd name="connsiteY86" fmla="*/ 263048 h 344988"/>
                <a:gd name="connsiteX87" fmla="*/ 104886 w 344587"/>
                <a:gd name="connsiteY87" fmla="*/ 258251 h 344988"/>
                <a:gd name="connsiteX88" fmla="*/ 108585 w 344587"/>
                <a:gd name="connsiteY88" fmla="*/ 255124 h 344988"/>
                <a:gd name="connsiteX89" fmla="*/ 103860 w 344587"/>
                <a:gd name="connsiteY89" fmla="*/ 254100 h 344988"/>
                <a:gd name="connsiteX90" fmla="*/ 254712 w 344587"/>
                <a:gd name="connsiteY90" fmla="*/ 236203 h 344988"/>
                <a:gd name="connsiteX91" fmla="*/ 253690 w 344587"/>
                <a:gd name="connsiteY91" fmla="*/ 240928 h 344988"/>
                <a:gd name="connsiteX92" fmla="*/ 249225 w 344587"/>
                <a:gd name="connsiteY92" fmla="*/ 242764 h 344988"/>
                <a:gd name="connsiteX93" fmla="*/ 253394 w 344587"/>
                <a:gd name="connsiteY93" fmla="*/ 245220 h 344988"/>
                <a:gd name="connsiteX94" fmla="*/ 253771 w 344587"/>
                <a:gd name="connsiteY94" fmla="*/ 250026 h 344988"/>
                <a:gd name="connsiteX95" fmla="*/ 257348 w 344587"/>
                <a:gd name="connsiteY95" fmla="*/ 246813 h 344988"/>
                <a:gd name="connsiteX96" fmla="*/ 262056 w 344587"/>
                <a:gd name="connsiteY96" fmla="*/ 247974 h 344988"/>
                <a:gd name="connsiteX97" fmla="*/ 260119 w 344587"/>
                <a:gd name="connsiteY97" fmla="*/ 243520 h 344988"/>
                <a:gd name="connsiteX98" fmla="*/ 262648 w 344587"/>
                <a:gd name="connsiteY98" fmla="*/ 239416 h 344988"/>
                <a:gd name="connsiteX99" fmla="*/ 257833 w 344587"/>
                <a:gd name="connsiteY99" fmla="*/ 239902 h 344988"/>
                <a:gd name="connsiteX100" fmla="*/ 89793 w 344587"/>
                <a:gd name="connsiteY100" fmla="*/ 236203 h 344988"/>
                <a:gd name="connsiteX101" fmla="*/ 86626 w 344587"/>
                <a:gd name="connsiteY101" fmla="*/ 239902 h 344988"/>
                <a:gd name="connsiteX102" fmla="*/ 81739 w 344587"/>
                <a:gd name="connsiteY102" fmla="*/ 239416 h 344988"/>
                <a:gd name="connsiteX103" fmla="*/ 84333 w 344587"/>
                <a:gd name="connsiteY103" fmla="*/ 243520 h 344988"/>
                <a:gd name="connsiteX104" fmla="*/ 82340 w 344587"/>
                <a:gd name="connsiteY104" fmla="*/ 247974 h 344988"/>
                <a:gd name="connsiteX105" fmla="*/ 87118 w 344587"/>
                <a:gd name="connsiteY105" fmla="*/ 246813 h 344988"/>
                <a:gd name="connsiteX106" fmla="*/ 90749 w 344587"/>
                <a:gd name="connsiteY106" fmla="*/ 250026 h 344988"/>
                <a:gd name="connsiteX107" fmla="*/ 91131 w 344587"/>
                <a:gd name="connsiteY107" fmla="*/ 245220 h 344988"/>
                <a:gd name="connsiteX108" fmla="*/ 95363 w 344587"/>
                <a:gd name="connsiteY108" fmla="*/ 242764 h 344988"/>
                <a:gd name="connsiteX109" fmla="*/ 90831 w 344587"/>
                <a:gd name="connsiteY109" fmla="*/ 240928 h 344988"/>
                <a:gd name="connsiteX110" fmla="*/ 264558 w 344587"/>
                <a:gd name="connsiteY110" fmla="*/ 220977 h 344988"/>
                <a:gd name="connsiteX111" fmla="*/ 264341 w 344587"/>
                <a:gd name="connsiteY111" fmla="*/ 225819 h 344988"/>
                <a:gd name="connsiteX112" fmla="*/ 260243 w 344587"/>
                <a:gd name="connsiteY112" fmla="*/ 228416 h 344988"/>
                <a:gd name="connsiteX113" fmla="*/ 264803 w 344587"/>
                <a:gd name="connsiteY113" fmla="*/ 230093 h 344988"/>
                <a:gd name="connsiteX114" fmla="*/ 265997 w 344587"/>
                <a:gd name="connsiteY114" fmla="*/ 234800 h 344988"/>
                <a:gd name="connsiteX115" fmla="*/ 269009 w 344587"/>
                <a:gd name="connsiteY115" fmla="*/ 230986 h 344988"/>
                <a:gd name="connsiteX116" fmla="*/ 273867 w 344587"/>
                <a:gd name="connsiteY116" fmla="*/ 231311 h 344988"/>
                <a:gd name="connsiteX117" fmla="*/ 271180 w 344587"/>
                <a:gd name="connsiteY117" fmla="*/ 227280 h 344988"/>
                <a:gd name="connsiteX118" fmla="*/ 272971 w 344587"/>
                <a:gd name="connsiteY118" fmla="*/ 222762 h 344988"/>
                <a:gd name="connsiteX119" fmla="*/ 268276 w 344587"/>
                <a:gd name="connsiteY119" fmla="*/ 224088 h 344988"/>
                <a:gd name="connsiteX120" fmla="*/ 80029 w 344587"/>
                <a:gd name="connsiteY120" fmla="*/ 220977 h 344988"/>
                <a:gd name="connsiteX121" fmla="*/ 76311 w 344587"/>
                <a:gd name="connsiteY121" fmla="*/ 224088 h 344988"/>
                <a:gd name="connsiteX122" fmla="*/ 71616 w 344587"/>
                <a:gd name="connsiteY122" fmla="*/ 222762 h 344988"/>
                <a:gd name="connsiteX123" fmla="*/ 73407 w 344587"/>
                <a:gd name="connsiteY123" fmla="*/ 227280 h 344988"/>
                <a:gd name="connsiteX124" fmla="*/ 70721 w 344587"/>
                <a:gd name="connsiteY124" fmla="*/ 231311 h 344988"/>
                <a:gd name="connsiteX125" fmla="*/ 75578 w 344587"/>
                <a:gd name="connsiteY125" fmla="*/ 230986 h 344988"/>
                <a:gd name="connsiteX126" fmla="*/ 78590 w 344587"/>
                <a:gd name="connsiteY126" fmla="*/ 234800 h 344988"/>
                <a:gd name="connsiteX127" fmla="*/ 79785 w 344587"/>
                <a:gd name="connsiteY127" fmla="*/ 230093 h 344988"/>
                <a:gd name="connsiteX128" fmla="*/ 84344 w 344587"/>
                <a:gd name="connsiteY128" fmla="*/ 228416 h 344988"/>
                <a:gd name="connsiteX129" fmla="*/ 80246 w 344587"/>
                <a:gd name="connsiteY129" fmla="*/ 225819 h 344988"/>
                <a:gd name="connsiteX130" fmla="*/ 271410 w 344587"/>
                <a:gd name="connsiteY130" fmla="*/ 204148 h 344988"/>
                <a:gd name="connsiteX131" fmla="*/ 272066 w 344587"/>
                <a:gd name="connsiteY131" fmla="*/ 208985 h 344988"/>
                <a:gd name="connsiteX132" fmla="*/ 268457 w 344587"/>
                <a:gd name="connsiteY132" fmla="*/ 212245 h 344988"/>
                <a:gd name="connsiteX133" fmla="*/ 273269 w 344587"/>
                <a:gd name="connsiteY133" fmla="*/ 213115 h 344988"/>
                <a:gd name="connsiteX134" fmla="*/ 275292 w 344587"/>
                <a:gd name="connsiteY134" fmla="*/ 217571 h 344988"/>
                <a:gd name="connsiteX135" fmla="*/ 277615 w 344587"/>
                <a:gd name="connsiteY135" fmla="*/ 213278 h 344988"/>
                <a:gd name="connsiteX136" fmla="*/ 282481 w 344587"/>
                <a:gd name="connsiteY136" fmla="*/ 212734 h 344988"/>
                <a:gd name="connsiteX137" fmla="*/ 279091 w 344587"/>
                <a:gd name="connsiteY137" fmla="*/ 209229 h 344988"/>
                <a:gd name="connsiteX138" fmla="*/ 280076 w 344587"/>
                <a:gd name="connsiteY138" fmla="*/ 204447 h 344988"/>
                <a:gd name="connsiteX139" fmla="*/ 275674 w 344587"/>
                <a:gd name="connsiteY139" fmla="*/ 206566 h 344988"/>
                <a:gd name="connsiteX140" fmla="*/ 73019 w 344587"/>
                <a:gd name="connsiteY140" fmla="*/ 204148 h 344988"/>
                <a:gd name="connsiteX141" fmla="*/ 68816 w 344587"/>
                <a:gd name="connsiteY141" fmla="*/ 206566 h 344988"/>
                <a:gd name="connsiteX142" fmla="*/ 64477 w 344587"/>
                <a:gd name="connsiteY142" fmla="*/ 204447 h 344988"/>
                <a:gd name="connsiteX143" fmla="*/ 65447 w 344587"/>
                <a:gd name="connsiteY143" fmla="*/ 209229 h 344988"/>
                <a:gd name="connsiteX144" fmla="*/ 62106 w 344587"/>
                <a:gd name="connsiteY144" fmla="*/ 212734 h 344988"/>
                <a:gd name="connsiteX145" fmla="*/ 66903 w 344587"/>
                <a:gd name="connsiteY145" fmla="*/ 213278 h 344988"/>
                <a:gd name="connsiteX146" fmla="*/ 69193 w 344587"/>
                <a:gd name="connsiteY146" fmla="*/ 217571 h 344988"/>
                <a:gd name="connsiteX147" fmla="*/ 71187 w 344587"/>
                <a:gd name="connsiteY147" fmla="*/ 213115 h 344988"/>
                <a:gd name="connsiteX148" fmla="*/ 75929 w 344587"/>
                <a:gd name="connsiteY148" fmla="*/ 212245 h 344988"/>
                <a:gd name="connsiteX149" fmla="*/ 72373 w 344587"/>
                <a:gd name="connsiteY149" fmla="*/ 208985 h 344988"/>
                <a:gd name="connsiteX150" fmla="*/ 283915 w 344587"/>
                <a:gd name="connsiteY150" fmla="*/ 185116 h 344988"/>
                <a:gd name="connsiteX151" fmla="*/ 279950 w 344587"/>
                <a:gd name="connsiteY151" fmla="*/ 187963 h 344988"/>
                <a:gd name="connsiteX152" fmla="*/ 275388 w 344587"/>
                <a:gd name="connsiteY152" fmla="*/ 186320 h 344988"/>
                <a:gd name="connsiteX153" fmla="*/ 276854 w 344587"/>
                <a:gd name="connsiteY153" fmla="*/ 191001 h 344988"/>
                <a:gd name="connsiteX154" fmla="*/ 273867 w 344587"/>
                <a:gd name="connsiteY154" fmla="*/ 194861 h 344988"/>
                <a:gd name="connsiteX155" fmla="*/ 278755 w 344587"/>
                <a:gd name="connsiteY155" fmla="*/ 194888 h 344988"/>
                <a:gd name="connsiteX156" fmla="*/ 281498 w 344587"/>
                <a:gd name="connsiteY156" fmla="*/ 198939 h 344988"/>
                <a:gd name="connsiteX157" fmla="*/ 283019 w 344587"/>
                <a:gd name="connsiteY157" fmla="*/ 194286 h 344988"/>
                <a:gd name="connsiteX158" fmla="*/ 287690 w 344587"/>
                <a:gd name="connsiteY158" fmla="*/ 192917 h 344988"/>
                <a:gd name="connsiteX159" fmla="*/ 283780 w 344587"/>
                <a:gd name="connsiteY159" fmla="*/ 190015 h 344988"/>
                <a:gd name="connsiteX160" fmla="*/ 60472 w 344587"/>
                <a:gd name="connsiteY160" fmla="*/ 185116 h 344988"/>
                <a:gd name="connsiteX161" fmla="*/ 60608 w 344587"/>
                <a:gd name="connsiteY161" fmla="*/ 190015 h 344988"/>
                <a:gd name="connsiteX162" fmla="*/ 56697 w 344587"/>
                <a:gd name="connsiteY162" fmla="*/ 192917 h 344988"/>
                <a:gd name="connsiteX163" fmla="*/ 61368 w 344587"/>
                <a:gd name="connsiteY163" fmla="*/ 194286 h 344988"/>
                <a:gd name="connsiteX164" fmla="*/ 62889 w 344587"/>
                <a:gd name="connsiteY164" fmla="*/ 198939 h 344988"/>
                <a:gd name="connsiteX165" fmla="*/ 65632 w 344587"/>
                <a:gd name="connsiteY165" fmla="*/ 194888 h 344988"/>
                <a:gd name="connsiteX166" fmla="*/ 70520 w 344587"/>
                <a:gd name="connsiteY166" fmla="*/ 194861 h 344988"/>
                <a:gd name="connsiteX167" fmla="*/ 67533 w 344587"/>
                <a:gd name="connsiteY167" fmla="*/ 191001 h 344988"/>
                <a:gd name="connsiteX168" fmla="*/ 68999 w 344587"/>
                <a:gd name="connsiteY168" fmla="*/ 186320 h 344988"/>
                <a:gd name="connsiteX169" fmla="*/ 64437 w 344587"/>
                <a:gd name="connsiteY169" fmla="*/ 187963 h 344988"/>
                <a:gd name="connsiteX170" fmla="*/ 284437 w 344587"/>
                <a:gd name="connsiteY170" fmla="*/ 165482 h 344988"/>
                <a:gd name="connsiteX171" fmla="*/ 281057 w 344587"/>
                <a:gd name="connsiteY171" fmla="*/ 168981 h 344988"/>
                <a:gd name="connsiteX172" fmla="*/ 276271 w 344587"/>
                <a:gd name="connsiteY172" fmla="*/ 168161 h 344988"/>
                <a:gd name="connsiteX173" fmla="*/ 278542 w 344587"/>
                <a:gd name="connsiteY173" fmla="*/ 172508 h 344988"/>
                <a:gd name="connsiteX174" fmla="*/ 276271 w 344587"/>
                <a:gd name="connsiteY174" fmla="*/ 176827 h 344988"/>
                <a:gd name="connsiteX175" fmla="*/ 281057 w 344587"/>
                <a:gd name="connsiteY175" fmla="*/ 176007 h 344988"/>
                <a:gd name="connsiteX176" fmla="*/ 284437 w 344587"/>
                <a:gd name="connsiteY176" fmla="*/ 179506 h 344988"/>
                <a:gd name="connsiteX177" fmla="*/ 285140 w 344587"/>
                <a:gd name="connsiteY177" fmla="*/ 174667 h 344988"/>
                <a:gd name="connsiteX178" fmla="*/ 289493 w 344587"/>
                <a:gd name="connsiteY178" fmla="*/ 172508 h 344988"/>
                <a:gd name="connsiteX179" fmla="*/ 285140 w 344587"/>
                <a:gd name="connsiteY179" fmla="*/ 170321 h 344988"/>
                <a:gd name="connsiteX180" fmla="*/ 60027 w 344587"/>
                <a:gd name="connsiteY180" fmla="*/ 165482 h 344988"/>
                <a:gd name="connsiteX181" fmla="*/ 59313 w 344587"/>
                <a:gd name="connsiteY181" fmla="*/ 170321 h 344988"/>
                <a:gd name="connsiteX182" fmla="*/ 54894 w 344587"/>
                <a:gd name="connsiteY182" fmla="*/ 172508 h 344988"/>
                <a:gd name="connsiteX183" fmla="*/ 59313 w 344587"/>
                <a:gd name="connsiteY183" fmla="*/ 174667 h 344988"/>
                <a:gd name="connsiteX184" fmla="*/ 60027 w 344587"/>
                <a:gd name="connsiteY184" fmla="*/ 179506 h 344988"/>
                <a:gd name="connsiteX185" fmla="*/ 63458 w 344587"/>
                <a:gd name="connsiteY185" fmla="*/ 176007 h 344988"/>
                <a:gd name="connsiteX186" fmla="*/ 68317 w 344587"/>
                <a:gd name="connsiteY186" fmla="*/ 176827 h 344988"/>
                <a:gd name="connsiteX187" fmla="*/ 66011 w 344587"/>
                <a:gd name="connsiteY187" fmla="*/ 172508 h 344988"/>
                <a:gd name="connsiteX188" fmla="*/ 68317 w 344587"/>
                <a:gd name="connsiteY188" fmla="*/ 168161 h 344988"/>
                <a:gd name="connsiteX189" fmla="*/ 63458 w 344587"/>
                <a:gd name="connsiteY189" fmla="*/ 168981 h 344988"/>
                <a:gd name="connsiteX190" fmla="*/ 281498 w 344587"/>
                <a:gd name="connsiteY190" fmla="*/ 146049 h 344988"/>
                <a:gd name="connsiteX191" fmla="*/ 278755 w 344587"/>
                <a:gd name="connsiteY191" fmla="*/ 150092 h 344988"/>
                <a:gd name="connsiteX192" fmla="*/ 273867 w 344587"/>
                <a:gd name="connsiteY192" fmla="*/ 150120 h 344988"/>
                <a:gd name="connsiteX193" fmla="*/ 276854 w 344587"/>
                <a:gd name="connsiteY193" fmla="*/ 153999 h 344988"/>
                <a:gd name="connsiteX194" fmla="*/ 275388 w 344587"/>
                <a:gd name="connsiteY194" fmla="*/ 158670 h 344988"/>
                <a:gd name="connsiteX195" fmla="*/ 279950 w 344587"/>
                <a:gd name="connsiteY195" fmla="*/ 157004 h 344988"/>
                <a:gd name="connsiteX196" fmla="*/ 283915 w 344587"/>
                <a:gd name="connsiteY196" fmla="*/ 159872 h 344988"/>
                <a:gd name="connsiteX197" fmla="*/ 283780 w 344587"/>
                <a:gd name="connsiteY197" fmla="*/ 154955 h 344988"/>
                <a:gd name="connsiteX198" fmla="*/ 287690 w 344587"/>
                <a:gd name="connsiteY198" fmla="*/ 152059 h 344988"/>
                <a:gd name="connsiteX199" fmla="*/ 283019 w 344587"/>
                <a:gd name="connsiteY199" fmla="*/ 150693 h 344988"/>
                <a:gd name="connsiteX200" fmla="*/ 62889 w 344587"/>
                <a:gd name="connsiteY200" fmla="*/ 146049 h 344988"/>
                <a:gd name="connsiteX201" fmla="*/ 61368 w 344587"/>
                <a:gd name="connsiteY201" fmla="*/ 150693 h 344988"/>
                <a:gd name="connsiteX202" fmla="*/ 56697 w 344587"/>
                <a:gd name="connsiteY202" fmla="*/ 152059 h 344988"/>
                <a:gd name="connsiteX203" fmla="*/ 60608 w 344587"/>
                <a:gd name="connsiteY203" fmla="*/ 154955 h 344988"/>
                <a:gd name="connsiteX204" fmla="*/ 60472 w 344587"/>
                <a:gd name="connsiteY204" fmla="*/ 159872 h 344988"/>
                <a:gd name="connsiteX205" fmla="*/ 64437 w 344587"/>
                <a:gd name="connsiteY205" fmla="*/ 157004 h 344988"/>
                <a:gd name="connsiteX206" fmla="*/ 68999 w 344587"/>
                <a:gd name="connsiteY206" fmla="*/ 158670 h 344988"/>
                <a:gd name="connsiteX207" fmla="*/ 67533 w 344587"/>
                <a:gd name="connsiteY207" fmla="*/ 153999 h 344988"/>
                <a:gd name="connsiteX208" fmla="*/ 70520 w 344587"/>
                <a:gd name="connsiteY208" fmla="*/ 150120 h 344988"/>
                <a:gd name="connsiteX209" fmla="*/ 65632 w 344587"/>
                <a:gd name="connsiteY209" fmla="*/ 150092 h 344988"/>
                <a:gd name="connsiteX210" fmla="*/ 275292 w 344587"/>
                <a:gd name="connsiteY210" fmla="*/ 127618 h 344988"/>
                <a:gd name="connsiteX211" fmla="*/ 273269 w 344587"/>
                <a:gd name="connsiteY211" fmla="*/ 132007 h 344988"/>
                <a:gd name="connsiteX212" fmla="*/ 268457 w 344587"/>
                <a:gd name="connsiteY212" fmla="*/ 132864 h 344988"/>
                <a:gd name="connsiteX213" fmla="*/ 272066 w 344587"/>
                <a:gd name="connsiteY213" fmla="*/ 136103 h 344988"/>
                <a:gd name="connsiteX214" fmla="*/ 271410 w 344587"/>
                <a:gd name="connsiteY214" fmla="*/ 140840 h 344988"/>
                <a:gd name="connsiteX215" fmla="*/ 275674 w 344587"/>
                <a:gd name="connsiteY215" fmla="*/ 138458 h 344988"/>
                <a:gd name="connsiteX216" fmla="*/ 280076 w 344587"/>
                <a:gd name="connsiteY216" fmla="*/ 140546 h 344988"/>
                <a:gd name="connsiteX217" fmla="*/ 279091 w 344587"/>
                <a:gd name="connsiteY217" fmla="*/ 135862 h 344988"/>
                <a:gd name="connsiteX218" fmla="*/ 282481 w 344587"/>
                <a:gd name="connsiteY218" fmla="*/ 132382 h 344988"/>
                <a:gd name="connsiteX219" fmla="*/ 277615 w 344587"/>
                <a:gd name="connsiteY219" fmla="*/ 131847 h 344988"/>
                <a:gd name="connsiteX220" fmla="*/ 69193 w 344587"/>
                <a:gd name="connsiteY220" fmla="*/ 127618 h 344988"/>
                <a:gd name="connsiteX221" fmla="*/ 66903 w 344587"/>
                <a:gd name="connsiteY221" fmla="*/ 131847 h 344988"/>
                <a:gd name="connsiteX222" fmla="*/ 62106 w 344587"/>
                <a:gd name="connsiteY222" fmla="*/ 132382 h 344988"/>
                <a:gd name="connsiteX223" fmla="*/ 65447 w 344587"/>
                <a:gd name="connsiteY223" fmla="*/ 135862 h 344988"/>
                <a:gd name="connsiteX224" fmla="*/ 64477 w 344587"/>
                <a:gd name="connsiteY224" fmla="*/ 140546 h 344988"/>
                <a:gd name="connsiteX225" fmla="*/ 68816 w 344587"/>
                <a:gd name="connsiteY225" fmla="*/ 138458 h 344988"/>
                <a:gd name="connsiteX226" fmla="*/ 73019 w 344587"/>
                <a:gd name="connsiteY226" fmla="*/ 140840 h 344988"/>
                <a:gd name="connsiteX227" fmla="*/ 72373 w 344587"/>
                <a:gd name="connsiteY227" fmla="*/ 136103 h 344988"/>
                <a:gd name="connsiteX228" fmla="*/ 75929 w 344587"/>
                <a:gd name="connsiteY228" fmla="*/ 132864 h 344988"/>
                <a:gd name="connsiteX229" fmla="*/ 71187 w 344587"/>
                <a:gd name="connsiteY229" fmla="*/ 132007 h 344988"/>
                <a:gd name="connsiteX230" fmla="*/ 265997 w 344587"/>
                <a:gd name="connsiteY230" fmla="*/ 110188 h 344988"/>
                <a:gd name="connsiteX231" fmla="*/ 264803 w 344587"/>
                <a:gd name="connsiteY231" fmla="*/ 114963 h 344988"/>
                <a:gd name="connsiteX232" fmla="*/ 260243 w 344587"/>
                <a:gd name="connsiteY232" fmla="*/ 116665 h 344988"/>
                <a:gd name="connsiteX233" fmla="*/ 264341 w 344587"/>
                <a:gd name="connsiteY233" fmla="*/ 119299 h 344988"/>
                <a:gd name="connsiteX234" fmla="*/ 264558 w 344587"/>
                <a:gd name="connsiteY234" fmla="*/ 124212 h 344988"/>
                <a:gd name="connsiteX235" fmla="*/ 268276 w 344587"/>
                <a:gd name="connsiteY235" fmla="*/ 121083 h 344988"/>
                <a:gd name="connsiteX236" fmla="*/ 272971 w 344587"/>
                <a:gd name="connsiteY236" fmla="*/ 122401 h 344988"/>
                <a:gd name="connsiteX237" fmla="*/ 271180 w 344587"/>
                <a:gd name="connsiteY237" fmla="*/ 117845 h 344988"/>
                <a:gd name="connsiteX238" fmla="*/ 273867 w 344587"/>
                <a:gd name="connsiteY238" fmla="*/ 113756 h 344988"/>
                <a:gd name="connsiteX239" fmla="*/ 269009 w 344587"/>
                <a:gd name="connsiteY239" fmla="*/ 114057 h 344988"/>
                <a:gd name="connsiteX240" fmla="*/ 78590 w 344587"/>
                <a:gd name="connsiteY240" fmla="*/ 110188 h 344988"/>
                <a:gd name="connsiteX241" fmla="*/ 75578 w 344587"/>
                <a:gd name="connsiteY241" fmla="*/ 114057 h 344988"/>
                <a:gd name="connsiteX242" fmla="*/ 70721 w 344587"/>
                <a:gd name="connsiteY242" fmla="*/ 113756 h 344988"/>
                <a:gd name="connsiteX243" fmla="*/ 73407 w 344587"/>
                <a:gd name="connsiteY243" fmla="*/ 117845 h 344988"/>
                <a:gd name="connsiteX244" fmla="*/ 71616 w 344587"/>
                <a:gd name="connsiteY244" fmla="*/ 122401 h 344988"/>
                <a:gd name="connsiteX245" fmla="*/ 76311 w 344587"/>
                <a:gd name="connsiteY245" fmla="*/ 121083 h 344988"/>
                <a:gd name="connsiteX246" fmla="*/ 80029 w 344587"/>
                <a:gd name="connsiteY246" fmla="*/ 124212 h 344988"/>
                <a:gd name="connsiteX247" fmla="*/ 80246 w 344587"/>
                <a:gd name="connsiteY247" fmla="*/ 119299 h 344988"/>
                <a:gd name="connsiteX248" fmla="*/ 84344 w 344587"/>
                <a:gd name="connsiteY248" fmla="*/ 116665 h 344988"/>
                <a:gd name="connsiteX249" fmla="*/ 79785 w 344587"/>
                <a:gd name="connsiteY249" fmla="*/ 114963 h 344988"/>
                <a:gd name="connsiteX250" fmla="*/ 172293 w 344587"/>
                <a:gd name="connsiteY250" fmla="*/ 107507 h 344988"/>
                <a:gd name="connsiteX251" fmla="*/ 164742 w 344587"/>
                <a:gd name="connsiteY251" fmla="*/ 112163 h 344988"/>
                <a:gd name="connsiteX252" fmla="*/ 148477 w 344587"/>
                <a:gd name="connsiteY252" fmla="*/ 145335 h 344988"/>
                <a:gd name="connsiteX253" fmla="*/ 111881 w 344587"/>
                <a:gd name="connsiteY253" fmla="*/ 150766 h 344988"/>
                <a:gd name="connsiteX254" fmla="*/ 104910 w 344587"/>
                <a:gd name="connsiteY254" fmla="*/ 156392 h 344988"/>
                <a:gd name="connsiteX255" fmla="*/ 107234 w 344587"/>
                <a:gd name="connsiteY255" fmla="*/ 165121 h 344988"/>
                <a:gd name="connsiteX256" fmla="*/ 133567 w 344587"/>
                <a:gd name="connsiteY256" fmla="*/ 190922 h 344988"/>
                <a:gd name="connsiteX257" fmla="*/ 127371 w 344587"/>
                <a:gd name="connsiteY257" fmla="*/ 227392 h 344988"/>
                <a:gd name="connsiteX258" fmla="*/ 130663 w 344587"/>
                <a:gd name="connsiteY258" fmla="*/ 235733 h 344988"/>
                <a:gd name="connsiteX259" fmla="*/ 135697 w 344587"/>
                <a:gd name="connsiteY259" fmla="*/ 237479 h 344988"/>
                <a:gd name="connsiteX260" fmla="*/ 139570 w 344587"/>
                <a:gd name="connsiteY260" fmla="*/ 236509 h 344988"/>
                <a:gd name="connsiteX261" fmla="*/ 172293 w 344587"/>
                <a:gd name="connsiteY261" fmla="*/ 219244 h 344988"/>
                <a:gd name="connsiteX262" fmla="*/ 205016 w 344587"/>
                <a:gd name="connsiteY262" fmla="*/ 236509 h 344988"/>
                <a:gd name="connsiteX263" fmla="*/ 209083 w 344587"/>
                <a:gd name="connsiteY263" fmla="*/ 237479 h 344988"/>
                <a:gd name="connsiteX264" fmla="*/ 213923 w 344587"/>
                <a:gd name="connsiteY264" fmla="*/ 235733 h 344988"/>
                <a:gd name="connsiteX265" fmla="*/ 217409 w 344587"/>
                <a:gd name="connsiteY265" fmla="*/ 227392 h 344988"/>
                <a:gd name="connsiteX266" fmla="*/ 211213 w 344587"/>
                <a:gd name="connsiteY266" fmla="*/ 190922 h 344988"/>
                <a:gd name="connsiteX267" fmla="*/ 237546 w 344587"/>
                <a:gd name="connsiteY267" fmla="*/ 165121 h 344988"/>
                <a:gd name="connsiteX268" fmla="*/ 239676 w 344587"/>
                <a:gd name="connsiteY268" fmla="*/ 156392 h 344988"/>
                <a:gd name="connsiteX269" fmla="*/ 232899 w 344587"/>
                <a:gd name="connsiteY269" fmla="*/ 150766 h 344988"/>
                <a:gd name="connsiteX270" fmla="*/ 196303 w 344587"/>
                <a:gd name="connsiteY270" fmla="*/ 145335 h 344988"/>
                <a:gd name="connsiteX271" fmla="*/ 180038 w 344587"/>
                <a:gd name="connsiteY271" fmla="*/ 112163 h 344988"/>
                <a:gd name="connsiteX272" fmla="*/ 172293 w 344587"/>
                <a:gd name="connsiteY272" fmla="*/ 107507 h 344988"/>
                <a:gd name="connsiteX273" fmla="*/ 253771 w 344587"/>
                <a:gd name="connsiteY273" fmla="*/ 94962 h 344988"/>
                <a:gd name="connsiteX274" fmla="*/ 253394 w 344587"/>
                <a:gd name="connsiteY274" fmla="*/ 99795 h 344988"/>
                <a:gd name="connsiteX275" fmla="*/ 249225 w 344587"/>
                <a:gd name="connsiteY275" fmla="*/ 102225 h 344988"/>
                <a:gd name="connsiteX276" fmla="*/ 253690 w 344587"/>
                <a:gd name="connsiteY276" fmla="*/ 104061 h 344988"/>
                <a:gd name="connsiteX277" fmla="*/ 254712 w 344587"/>
                <a:gd name="connsiteY277" fmla="*/ 108785 h 344988"/>
                <a:gd name="connsiteX278" fmla="*/ 257833 w 344587"/>
                <a:gd name="connsiteY278" fmla="*/ 105114 h 344988"/>
                <a:gd name="connsiteX279" fmla="*/ 262648 w 344587"/>
                <a:gd name="connsiteY279" fmla="*/ 105573 h 344988"/>
                <a:gd name="connsiteX280" fmla="*/ 260119 w 344587"/>
                <a:gd name="connsiteY280" fmla="*/ 101469 h 344988"/>
                <a:gd name="connsiteX281" fmla="*/ 262056 w 344587"/>
                <a:gd name="connsiteY281" fmla="*/ 97041 h 344988"/>
                <a:gd name="connsiteX282" fmla="*/ 257348 w 344587"/>
                <a:gd name="connsiteY282" fmla="*/ 98175 h 344988"/>
                <a:gd name="connsiteX283" fmla="*/ 90749 w 344587"/>
                <a:gd name="connsiteY283" fmla="*/ 94962 h 344988"/>
                <a:gd name="connsiteX284" fmla="*/ 87118 w 344587"/>
                <a:gd name="connsiteY284" fmla="*/ 98175 h 344988"/>
                <a:gd name="connsiteX285" fmla="*/ 82340 w 344587"/>
                <a:gd name="connsiteY285" fmla="*/ 97041 h 344988"/>
                <a:gd name="connsiteX286" fmla="*/ 84333 w 344587"/>
                <a:gd name="connsiteY286" fmla="*/ 101469 h 344988"/>
                <a:gd name="connsiteX287" fmla="*/ 81739 w 344587"/>
                <a:gd name="connsiteY287" fmla="*/ 105573 h 344988"/>
                <a:gd name="connsiteX288" fmla="*/ 86626 w 344587"/>
                <a:gd name="connsiteY288" fmla="*/ 105114 h 344988"/>
                <a:gd name="connsiteX289" fmla="*/ 89793 w 344587"/>
                <a:gd name="connsiteY289" fmla="*/ 108785 h 344988"/>
                <a:gd name="connsiteX290" fmla="*/ 90831 w 344587"/>
                <a:gd name="connsiteY290" fmla="*/ 104061 h 344988"/>
                <a:gd name="connsiteX291" fmla="*/ 95363 w 344587"/>
                <a:gd name="connsiteY291" fmla="*/ 102225 h 344988"/>
                <a:gd name="connsiteX292" fmla="*/ 91131 w 344587"/>
                <a:gd name="connsiteY292" fmla="*/ 99795 h 344988"/>
                <a:gd name="connsiteX293" fmla="*/ 239015 w 344587"/>
                <a:gd name="connsiteY293" fmla="*/ 81940 h 344988"/>
                <a:gd name="connsiteX294" fmla="*/ 239501 w 344587"/>
                <a:gd name="connsiteY294" fmla="*/ 86827 h 344988"/>
                <a:gd name="connsiteX295" fmla="*/ 235802 w 344587"/>
                <a:gd name="connsiteY295" fmla="*/ 89993 h 344988"/>
                <a:gd name="connsiteX296" fmla="*/ 240527 w 344587"/>
                <a:gd name="connsiteY296" fmla="*/ 91031 h 344988"/>
                <a:gd name="connsiteX297" fmla="*/ 242363 w 344587"/>
                <a:gd name="connsiteY297" fmla="*/ 95563 h 344988"/>
                <a:gd name="connsiteX298" fmla="*/ 244792 w 344587"/>
                <a:gd name="connsiteY298" fmla="*/ 91331 h 344988"/>
                <a:gd name="connsiteX299" fmla="*/ 249625 w 344587"/>
                <a:gd name="connsiteY299" fmla="*/ 90976 h 344988"/>
                <a:gd name="connsiteX300" fmla="*/ 246413 w 344587"/>
                <a:gd name="connsiteY300" fmla="*/ 87318 h 344988"/>
                <a:gd name="connsiteX301" fmla="*/ 247546 w 344587"/>
                <a:gd name="connsiteY301" fmla="*/ 82568 h 344988"/>
                <a:gd name="connsiteX302" fmla="*/ 243119 w 344587"/>
                <a:gd name="connsiteY302" fmla="*/ 84533 h 344988"/>
                <a:gd name="connsiteX303" fmla="*/ 105372 w 344587"/>
                <a:gd name="connsiteY303" fmla="*/ 81940 h 344988"/>
                <a:gd name="connsiteX304" fmla="*/ 101268 w 344587"/>
                <a:gd name="connsiteY304" fmla="*/ 84533 h 344988"/>
                <a:gd name="connsiteX305" fmla="*/ 96841 w 344587"/>
                <a:gd name="connsiteY305" fmla="*/ 82568 h 344988"/>
                <a:gd name="connsiteX306" fmla="*/ 97975 w 344587"/>
                <a:gd name="connsiteY306" fmla="*/ 87318 h 344988"/>
                <a:gd name="connsiteX307" fmla="*/ 94762 w 344587"/>
                <a:gd name="connsiteY307" fmla="*/ 90976 h 344988"/>
                <a:gd name="connsiteX308" fmla="*/ 99594 w 344587"/>
                <a:gd name="connsiteY308" fmla="*/ 91331 h 344988"/>
                <a:gd name="connsiteX309" fmla="*/ 102024 w 344587"/>
                <a:gd name="connsiteY309" fmla="*/ 95563 h 344988"/>
                <a:gd name="connsiteX310" fmla="*/ 103860 w 344587"/>
                <a:gd name="connsiteY310" fmla="*/ 91031 h 344988"/>
                <a:gd name="connsiteX311" fmla="*/ 108585 w 344587"/>
                <a:gd name="connsiteY311" fmla="*/ 89993 h 344988"/>
                <a:gd name="connsiteX312" fmla="*/ 104886 w 344587"/>
                <a:gd name="connsiteY312" fmla="*/ 86827 h 344988"/>
                <a:gd name="connsiteX313" fmla="*/ 230910 w 344587"/>
                <a:gd name="connsiteY313" fmla="*/ 70720 h 344988"/>
                <a:gd name="connsiteX314" fmla="*/ 226879 w 344587"/>
                <a:gd name="connsiteY314" fmla="*/ 73474 h 344988"/>
                <a:gd name="connsiteX315" fmla="*/ 222361 w 344587"/>
                <a:gd name="connsiteY315" fmla="*/ 71629 h 344988"/>
                <a:gd name="connsiteX316" fmla="*/ 223687 w 344587"/>
                <a:gd name="connsiteY316" fmla="*/ 76393 h 344988"/>
                <a:gd name="connsiteX317" fmla="*/ 220576 w 344587"/>
                <a:gd name="connsiteY317" fmla="*/ 80193 h 344988"/>
                <a:gd name="connsiteX318" fmla="*/ 225418 w 344587"/>
                <a:gd name="connsiteY318" fmla="*/ 80386 h 344988"/>
                <a:gd name="connsiteX319" fmla="*/ 228015 w 344587"/>
                <a:gd name="connsiteY319" fmla="*/ 84544 h 344988"/>
                <a:gd name="connsiteX320" fmla="*/ 229692 w 344587"/>
                <a:gd name="connsiteY320" fmla="*/ 79918 h 344988"/>
                <a:gd name="connsiteX321" fmla="*/ 234399 w 344587"/>
                <a:gd name="connsiteY321" fmla="*/ 78706 h 344988"/>
                <a:gd name="connsiteX322" fmla="*/ 230585 w 344587"/>
                <a:gd name="connsiteY322" fmla="*/ 75650 h 344988"/>
                <a:gd name="connsiteX323" fmla="*/ 113678 w 344587"/>
                <a:gd name="connsiteY323" fmla="*/ 70720 h 344988"/>
                <a:gd name="connsiteX324" fmla="*/ 114002 w 344587"/>
                <a:gd name="connsiteY324" fmla="*/ 75650 h 344988"/>
                <a:gd name="connsiteX325" fmla="*/ 110188 w 344587"/>
                <a:gd name="connsiteY325" fmla="*/ 78706 h 344988"/>
                <a:gd name="connsiteX326" fmla="*/ 114895 w 344587"/>
                <a:gd name="connsiteY326" fmla="*/ 79918 h 344988"/>
                <a:gd name="connsiteX327" fmla="*/ 116572 w 344587"/>
                <a:gd name="connsiteY327" fmla="*/ 84544 h 344988"/>
                <a:gd name="connsiteX328" fmla="*/ 119169 w 344587"/>
                <a:gd name="connsiteY328" fmla="*/ 80386 h 344988"/>
                <a:gd name="connsiteX329" fmla="*/ 124011 w 344587"/>
                <a:gd name="connsiteY329" fmla="*/ 80193 h 344988"/>
                <a:gd name="connsiteX330" fmla="*/ 120900 w 344587"/>
                <a:gd name="connsiteY330" fmla="*/ 76393 h 344988"/>
                <a:gd name="connsiteX331" fmla="*/ 122226 w 344587"/>
                <a:gd name="connsiteY331" fmla="*/ 71629 h 344988"/>
                <a:gd name="connsiteX332" fmla="*/ 117708 w 344587"/>
                <a:gd name="connsiteY332" fmla="*/ 73474 h 344988"/>
                <a:gd name="connsiteX333" fmla="*/ 212334 w 344587"/>
                <a:gd name="connsiteY333" fmla="*/ 62106 h 344988"/>
                <a:gd name="connsiteX334" fmla="*/ 208828 w 344587"/>
                <a:gd name="connsiteY334" fmla="*/ 65489 h 344988"/>
                <a:gd name="connsiteX335" fmla="*/ 204046 w 344587"/>
                <a:gd name="connsiteY335" fmla="*/ 64507 h 344988"/>
                <a:gd name="connsiteX336" fmla="*/ 206165 w 344587"/>
                <a:gd name="connsiteY336" fmla="*/ 68900 h 344988"/>
                <a:gd name="connsiteX337" fmla="*/ 203747 w 344587"/>
                <a:gd name="connsiteY337" fmla="*/ 73156 h 344988"/>
                <a:gd name="connsiteX338" fmla="*/ 208584 w 344587"/>
                <a:gd name="connsiteY338" fmla="*/ 72501 h 344988"/>
                <a:gd name="connsiteX339" fmla="*/ 211844 w 344587"/>
                <a:gd name="connsiteY339" fmla="*/ 76130 h 344988"/>
                <a:gd name="connsiteX340" fmla="*/ 212714 w 344587"/>
                <a:gd name="connsiteY340" fmla="*/ 71301 h 344988"/>
                <a:gd name="connsiteX341" fmla="*/ 217170 w 344587"/>
                <a:gd name="connsiteY341" fmla="*/ 69282 h 344988"/>
                <a:gd name="connsiteX342" fmla="*/ 212877 w 344587"/>
                <a:gd name="connsiteY342" fmla="*/ 66962 h 344988"/>
                <a:gd name="connsiteX343" fmla="*/ 132182 w 344587"/>
                <a:gd name="connsiteY343" fmla="*/ 62106 h 344988"/>
                <a:gd name="connsiteX344" fmla="*/ 131646 w 344587"/>
                <a:gd name="connsiteY344" fmla="*/ 66962 h 344988"/>
                <a:gd name="connsiteX345" fmla="*/ 127417 w 344587"/>
                <a:gd name="connsiteY345" fmla="*/ 69282 h 344988"/>
                <a:gd name="connsiteX346" fmla="*/ 131807 w 344587"/>
                <a:gd name="connsiteY346" fmla="*/ 71301 h 344988"/>
                <a:gd name="connsiteX347" fmla="*/ 132663 w 344587"/>
                <a:gd name="connsiteY347" fmla="*/ 76130 h 344988"/>
                <a:gd name="connsiteX348" fmla="*/ 135875 w 344587"/>
                <a:gd name="connsiteY348" fmla="*/ 72501 h 344988"/>
                <a:gd name="connsiteX349" fmla="*/ 140640 w 344587"/>
                <a:gd name="connsiteY349" fmla="*/ 73156 h 344988"/>
                <a:gd name="connsiteX350" fmla="*/ 138258 w 344587"/>
                <a:gd name="connsiteY350" fmla="*/ 68900 h 344988"/>
                <a:gd name="connsiteX351" fmla="*/ 140345 w 344587"/>
                <a:gd name="connsiteY351" fmla="*/ 64507 h 344988"/>
                <a:gd name="connsiteX352" fmla="*/ 135635 w 344587"/>
                <a:gd name="connsiteY352" fmla="*/ 65489 h 344988"/>
                <a:gd name="connsiteX353" fmla="*/ 192615 w 344587"/>
                <a:gd name="connsiteY353" fmla="*/ 56897 h 344988"/>
                <a:gd name="connsiteX354" fmla="*/ 189761 w 344587"/>
                <a:gd name="connsiteY354" fmla="*/ 60835 h 344988"/>
                <a:gd name="connsiteX355" fmla="*/ 184915 w 344587"/>
                <a:gd name="connsiteY355" fmla="*/ 60672 h 344988"/>
                <a:gd name="connsiteX356" fmla="*/ 187742 w 344587"/>
                <a:gd name="connsiteY356" fmla="*/ 64637 h 344988"/>
                <a:gd name="connsiteX357" fmla="*/ 186127 w 344587"/>
                <a:gd name="connsiteY357" fmla="*/ 69227 h 344988"/>
                <a:gd name="connsiteX358" fmla="*/ 190704 w 344587"/>
                <a:gd name="connsiteY358" fmla="*/ 67733 h 344988"/>
                <a:gd name="connsiteX359" fmla="*/ 194527 w 344587"/>
                <a:gd name="connsiteY359" fmla="*/ 70720 h 344988"/>
                <a:gd name="connsiteX360" fmla="*/ 194554 w 344587"/>
                <a:gd name="connsiteY360" fmla="*/ 65832 h 344988"/>
                <a:gd name="connsiteX361" fmla="*/ 198538 w 344587"/>
                <a:gd name="connsiteY361" fmla="*/ 63089 h 344988"/>
                <a:gd name="connsiteX362" fmla="*/ 193961 w 344587"/>
                <a:gd name="connsiteY362" fmla="*/ 61568 h 344988"/>
                <a:gd name="connsiteX363" fmla="*/ 151859 w 344587"/>
                <a:gd name="connsiteY363" fmla="*/ 56897 h 344988"/>
                <a:gd name="connsiteX364" fmla="*/ 150493 w 344587"/>
                <a:gd name="connsiteY364" fmla="*/ 61568 h 344988"/>
                <a:gd name="connsiteX365" fmla="*/ 145849 w 344587"/>
                <a:gd name="connsiteY365" fmla="*/ 63089 h 344988"/>
                <a:gd name="connsiteX366" fmla="*/ 149892 w 344587"/>
                <a:gd name="connsiteY366" fmla="*/ 65832 h 344988"/>
                <a:gd name="connsiteX367" fmla="*/ 149919 w 344587"/>
                <a:gd name="connsiteY367" fmla="*/ 70720 h 344988"/>
                <a:gd name="connsiteX368" fmla="*/ 153798 w 344587"/>
                <a:gd name="connsiteY368" fmla="*/ 67733 h 344988"/>
                <a:gd name="connsiteX369" fmla="*/ 158443 w 344587"/>
                <a:gd name="connsiteY369" fmla="*/ 69227 h 344988"/>
                <a:gd name="connsiteX370" fmla="*/ 156804 w 344587"/>
                <a:gd name="connsiteY370" fmla="*/ 64637 h 344988"/>
                <a:gd name="connsiteX371" fmla="*/ 159672 w 344587"/>
                <a:gd name="connsiteY371" fmla="*/ 60672 h 344988"/>
                <a:gd name="connsiteX372" fmla="*/ 154755 w 344587"/>
                <a:gd name="connsiteY372" fmla="*/ 60835 h 344988"/>
                <a:gd name="connsiteX373" fmla="*/ 172307 w 344587"/>
                <a:gd name="connsiteY373" fmla="*/ 55094 h 344988"/>
                <a:gd name="connsiteX374" fmla="*/ 170121 w 344587"/>
                <a:gd name="connsiteY374" fmla="*/ 59447 h 344988"/>
                <a:gd name="connsiteX375" fmla="*/ 165282 w 344587"/>
                <a:gd name="connsiteY375" fmla="*/ 60150 h 344988"/>
                <a:gd name="connsiteX376" fmla="*/ 168781 w 344587"/>
                <a:gd name="connsiteY376" fmla="*/ 63530 h 344988"/>
                <a:gd name="connsiteX377" fmla="*/ 167961 w 344587"/>
                <a:gd name="connsiteY377" fmla="*/ 68316 h 344988"/>
                <a:gd name="connsiteX378" fmla="*/ 172307 w 344587"/>
                <a:gd name="connsiteY378" fmla="*/ 66045 h 344988"/>
                <a:gd name="connsiteX379" fmla="*/ 176627 w 344587"/>
                <a:gd name="connsiteY379" fmla="*/ 68316 h 344988"/>
                <a:gd name="connsiteX380" fmla="*/ 175806 w 344587"/>
                <a:gd name="connsiteY380" fmla="*/ 63530 h 344988"/>
                <a:gd name="connsiteX381" fmla="*/ 179306 w 344587"/>
                <a:gd name="connsiteY381" fmla="*/ 60150 h 344988"/>
                <a:gd name="connsiteX382" fmla="*/ 174467 w 344587"/>
                <a:gd name="connsiteY382" fmla="*/ 59447 h 344988"/>
                <a:gd name="connsiteX383" fmla="*/ 171615 w 344587"/>
                <a:gd name="connsiteY383" fmla="*/ 48293 h 344988"/>
                <a:gd name="connsiteX384" fmla="*/ 293719 w 344587"/>
                <a:gd name="connsiteY384" fmla="*/ 170398 h 344988"/>
                <a:gd name="connsiteX385" fmla="*/ 171615 w 344587"/>
                <a:gd name="connsiteY385" fmla="*/ 292503 h 344988"/>
                <a:gd name="connsiteX386" fmla="*/ 49510 w 344587"/>
                <a:gd name="connsiteY386" fmla="*/ 170398 h 344988"/>
                <a:gd name="connsiteX387" fmla="*/ 171615 w 344587"/>
                <a:gd name="connsiteY387" fmla="*/ 48293 h 344988"/>
                <a:gd name="connsiteX388" fmla="*/ 171615 w 344587"/>
                <a:gd name="connsiteY388" fmla="*/ 34348 h 344988"/>
                <a:gd name="connsiteX389" fmla="*/ 35565 w 344587"/>
                <a:gd name="connsiteY389" fmla="*/ 170398 h 344988"/>
                <a:gd name="connsiteX390" fmla="*/ 171615 w 344587"/>
                <a:gd name="connsiteY390" fmla="*/ 306448 h 344988"/>
                <a:gd name="connsiteX391" fmla="*/ 307665 w 344587"/>
                <a:gd name="connsiteY391" fmla="*/ 170398 h 344988"/>
                <a:gd name="connsiteX392" fmla="*/ 171615 w 344587"/>
                <a:gd name="connsiteY392" fmla="*/ 34348 h 344988"/>
                <a:gd name="connsiteX393" fmla="*/ 172307 w 344587"/>
                <a:gd name="connsiteY393" fmla="*/ 0 h 344988"/>
                <a:gd name="connsiteX394" fmla="*/ 212700 w 344587"/>
                <a:gd name="connsiteY394" fmla="*/ 21468 h 344988"/>
                <a:gd name="connsiteX395" fmla="*/ 258434 w 344587"/>
                <a:gd name="connsiteY395" fmla="*/ 23124 h 344988"/>
                <a:gd name="connsiteX396" fmla="*/ 282724 w 344587"/>
                <a:gd name="connsiteY396" fmla="*/ 61936 h 344988"/>
                <a:gd name="connsiteX397" fmla="*/ 321490 w 344587"/>
                <a:gd name="connsiteY397" fmla="*/ 86254 h 344988"/>
                <a:gd name="connsiteX398" fmla="*/ 323144 w 344587"/>
                <a:gd name="connsiteY398" fmla="*/ 132040 h 344988"/>
                <a:gd name="connsiteX399" fmla="*/ 344587 w 344587"/>
                <a:gd name="connsiteY399" fmla="*/ 172508 h 344988"/>
                <a:gd name="connsiteX400" fmla="*/ 323144 w 344587"/>
                <a:gd name="connsiteY400" fmla="*/ 212975 h 344988"/>
                <a:gd name="connsiteX401" fmla="*/ 321490 w 344587"/>
                <a:gd name="connsiteY401" fmla="*/ 258734 h 344988"/>
                <a:gd name="connsiteX402" fmla="*/ 282724 w 344587"/>
                <a:gd name="connsiteY402" fmla="*/ 283052 h 344988"/>
                <a:gd name="connsiteX403" fmla="*/ 258434 w 344587"/>
                <a:gd name="connsiteY403" fmla="*/ 321891 h 344988"/>
                <a:gd name="connsiteX404" fmla="*/ 212700 w 344587"/>
                <a:gd name="connsiteY404" fmla="*/ 323520 h 344988"/>
                <a:gd name="connsiteX405" fmla="*/ 172307 w 344587"/>
                <a:gd name="connsiteY405" fmla="*/ 344988 h 344988"/>
                <a:gd name="connsiteX406" fmla="*/ 131887 w 344587"/>
                <a:gd name="connsiteY406" fmla="*/ 323520 h 344988"/>
                <a:gd name="connsiteX407" fmla="*/ 86154 w 344587"/>
                <a:gd name="connsiteY407" fmla="*/ 321891 h 344988"/>
                <a:gd name="connsiteX408" fmla="*/ 61864 w 344587"/>
                <a:gd name="connsiteY408" fmla="*/ 283052 h 344988"/>
                <a:gd name="connsiteX409" fmla="*/ 23097 w 344587"/>
                <a:gd name="connsiteY409" fmla="*/ 258734 h 344988"/>
                <a:gd name="connsiteX410" fmla="*/ 21444 w 344587"/>
                <a:gd name="connsiteY410" fmla="*/ 212975 h 344988"/>
                <a:gd name="connsiteX411" fmla="*/ 0 w 344587"/>
                <a:gd name="connsiteY411" fmla="*/ 172508 h 344988"/>
                <a:gd name="connsiteX412" fmla="*/ 21444 w 344587"/>
                <a:gd name="connsiteY412" fmla="*/ 132040 h 344988"/>
                <a:gd name="connsiteX413" fmla="*/ 23097 w 344587"/>
                <a:gd name="connsiteY413" fmla="*/ 86254 h 344988"/>
                <a:gd name="connsiteX414" fmla="*/ 61864 w 344587"/>
                <a:gd name="connsiteY414" fmla="*/ 61936 h 344988"/>
                <a:gd name="connsiteX415" fmla="*/ 86154 w 344587"/>
                <a:gd name="connsiteY415" fmla="*/ 23124 h 344988"/>
                <a:gd name="connsiteX416" fmla="*/ 131887 w 344587"/>
                <a:gd name="connsiteY416" fmla="*/ 21468 h 344988"/>
                <a:gd name="connsiteX417" fmla="*/ 172307 w 344587"/>
                <a:gd name="connsiteY417" fmla="*/ 0 h 344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44587" h="344988">
                  <a:moveTo>
                    <a:pt x="167961" y="276672"/>
                  </a:moveTo>
                  <a:lnTo>
                    <a:pt x="168781" y="281441"/>
                  </a:lnTo>
                  <a:lnTo>
                    <a:pt x="165282" y="284827"/>
                  </a:lnTo>
                  <a:lnTo>
                    <a:pt x="170121" y="285532"/>
                  </a:lnTo>
                  <a:lnTo>
                    <a:pt x="172307" y="289894"/>
                  </a:lnTo>
                  <a:lnTo>
                    <a:pt x="174467" y="285532"/>
                  </a:lnTo>
                  <a:lnTo>
                    <a:pt x="179306" y="284827"/>
                  </a:lnTo>
                  <a:lnTo>
                    <a:pt x="175806" y="281441"/>
                  </a:lnTo>
                  <a:lnTo>
                    <a:pt x="176627" y="276672"/>
                  </a:lnTo>
                  <a:lnTo>
                    <a:pt x="172307" y="278921"/>
                  </a:lnTo>
                  <a:close/>
                  <a:moveTo>
                    <a:pt x="194527" y="274468"/>
                  </a:moveTo>
                  <a:lnTo>
                    <a:pt x="190704" y="277391"/>
                  </a:lnTo>
                  <a:lnTo>
                    <a:pt x="186127" y="275943"/>
                  </a:lnTo>
                  <a:lnTo>
                    <a:pt x="187742" y="280475"/>
                  </a:lnTo>
                  <a:lnTo>
                    <a:pt x="184915" y="284363"/>
                  </a:lnTo>
                  <a:lnTo>
                    <a:pt x="189761" y="284229"/>
                  </a:lnTo>
                  <a:lnTo>
                    <a:pt x="192615" y="288091"/>
                  </a:lnTo>
                  <a:lnTo>
                    <a:pt x="193961" y="283479"/>
                  </a:lnTo>
                  <a:lnTo>
                    <a:pt x="198538" y="281977"/>
                  </a:lnTo>
                  <a:lnTo>
                    <a:pt x="194554" y="279268"/>
                  </a:lnTo>
                  <a:close/>
                  <a:moveTo>
                    <a:pt x="149919" y="274468"/>
                  </a:moveTo>
                  <a:lnTo>
                    <a:pt x="149892" y="279268"/>
                  </a:lnTo>
                  <a:lnTo>
                    <a:pt x="145849" y="281977"/>
                  </a:lnTo>
                  <a:lnTo>
                    <a:pt x="150493" y="283479"/>
                  </a:lnTo>
                  <a:lnTo>
                    <a:pt x="151859" y="288091"/>
                  </a:lnTo>
                  <a:lnTo>
                    <a:pt x="154755" y="284229"/>
                  </a:lnTo>
                  <a:lnTo>
                    <a:pt x="159672" y="284363"/>
                  </a:lnTo>
                  <a:lnTo>
                    <a:pt x="156804" y="280475"/>
                  </a:lnTo>
                  <a:lnTo>
                    <a:pt x="158443" y="275943"/>
                  </a:lnTo>
                  <a:lnTo>
                    <a:pt x="153798" y="277391"/>
                  </a:lnTo>
                  <a:close/>
                  <a:moveTo>
                    <a:pt x="211844" y="268858"/>
                  </a:moveTo>
                  <a:lnTo>
                    <a:pt x="208584" y="272467"/>
                  </a:lnTo>
                  <a:lnTo>
                    <a:pt x="203747" y="271811"/>
                  </a:lnTo>
                  <a:lnTo>
                    <a:pt x="206165" y="276075"/>
                  </a:lnTo>
                  <a:lnTo>
                    <a:pt x="204046" y="280504"/>
                  </a:lnTo>
                  <a:lnTo>
                    <a:pt x="208828" y="279492"/>
                  </a:lnTo>
                  <a:lnTo>
                    <a:pt x="212334" y="282882"/>
                  </a:lnTo>
                  <a:lnTo>
                    <a:pt x="212877" y="278016"/>
                  </a:lnTo>
                  <a:lnTo>
                    <a:pt x="217170" y="275693"/>
                  </a:lnTo>
                  <a:lnTo>
                    <a:pt x="212714" y="273670"/>
                  </a:lnTo>
                  <a:close/>
                  <a:moveTo>
                    <a:pt x="132663" y="268858"/>
                  </a:moveTo>
                  <a:lnTo>
                    <a:pt x="131807" y="273670"/>
                  </a:lnTo>
                  <a:lnTo>
                    <a:pt x="127417" y="275693"/>
                  </a:lnTo>
                  <a:lnTo>
                    <a:pt x="131646" y="278016"/>
                  </a:lnTo>
                  <a:lnTo>
                    <a:pt x="132182" y="282882"/>
                  </a:lnTo>
                  <a:lnTo>
                    <a:pt x="135635" y="279492"/>
                  </a:lnTo>
                  <a:lnTo>
                    <a:pt x="140345" y="280504"/>
                  </a:lnTo>
                  <a:lnTo>
                    <a:pt x="138258" y="276075"/>
                  </a:lnTo>
                  <a:lnTo>
                    <a:pt x="140640" y="271811"/>
                  </a:lnTo>
                  <a:lnTo>
                    <a:pt x="135875" y="272467"/>
                  </a:lnTo>
                  <a:close/>
                  <a:moveTo>
                    <a:pt x="228015" y="260644"/>
                  </a:moveTo>
                  <a:lnTo>
                    <a:pt x="225418" y="264769"/>
                  </a:lnTo>
                  <a:lnTo>
                    <a:pt x="220576" y="264959"/>
                  </a:lnTo>
                  <a:lnTo>
                    <a:pt x="223687" y="268704"/>
                  </a:lnTo>
                  <a:lnTo>
                    <a:pt x="222361" y="273372"/>
                  </a:lnTo>
                  <a:lnTo>
                    <a:pt x="226879" y="271581"/>
                  </a:lnTo>
                  <a:lnTo>
                    <a:pt x="230910" y="274268"/>
                  </a:lnTo>
                  <a:lnTo>
                    <a:pt x="230585" y="269410"/>
                  </a:lnTo>
                  <a:lnTo>
                    <a:pt x="234399" y="266398"/>
                  </a:lnTo>
                  <a:lnTo>
                    <a:pt x="229692" y="265204"/>
                  </a:lnTo>
                  <a:close/>
                  <a:moveTo>
                    <a:pt x="116572" y="260644"/>
                  </a:moveTo>
                  <a:lnTo>
                    <a:pt x="114895" y="265204"/>
                  </a:lnTo>
                  <a:lnTo>
                    <a:pt x="110188" y="266398"/>
                  </a:lnTo>
                  <a:lnTo>
                    <a:pt x="114002" y="269410"/>
                  </a:lnTo>
                  <a:lnTo>
                    <a:pt x="113678" y="274268"/>
                  </a:lnTo>
                  <a:lnTo>
                    <a:pt x="117708" y="271581"/>
                  </a:lnTo>
                  <a:lnTo>
                    <a:pt x="122226" y="273372"/>
                  </a:lnTo>
                  <a:lnTo>
                    <a:pt x="120900" y="268704"/>
                  </a:lnTo>
                  <a:lnTo>
                    <a:pt x="124011" y="264959"/>
                  </a:lnTo>
                  <a:lnTo>
                    <a:pt x="119169" y="264769"/>
                  </a:lnTo>
                  <a:close/>
                  <a:moveTo>
                    <a:pt x="242363" y="249625"/>
                  </a:moveTo>
                  <a:lnTo>
                    <a:pt x="240527" y="254100"/>
                  </a:lnTo>
                  <a:lnTo>
                    <a:pt x="235802" y="255124"/>
                  </a:lnTo>
                  <a:lnTo>
                    <a:pt x="239501" y="258251"/>
                  </a:lnTo>
                  <a:lnTo>
                    <a:pt x="239015" y="263048"/>
                  </a:lnTo>
                  <a:lnTo>
                    <a:pt x="243119" y="260515"/>
                  </a:lnTo>
                  <a:lnTo>
                    <a:pt x="247546" y="262455"/>
                  </a:lnTo>
                  <a:lnTo>
                    <a:pt x="246413" y="257766"/>
                  </a:lnTo>
                  <a:lnTo>
                    <a:pt x="249625" y="254154"/>
                  </a:lnTo>
                  <a:lnTo>
                    <a:pt x="244792" y="253776"/>
                  </a:lnTo>
                  <a:close/>
                  <a:moveTo>
                    <a:pt x="102024" y="249625"/>
                  </a:moveTo>
                  <a:lnTo>
                    <a:pt x="99594" y="253776"/>
                  </a:lnTo>
                  <a:lnTo>
                    <a:pt x="94762" y="254154"/>
                  </a:lnTo>
                  <a:lnTo>
                    <a:pt x="97975" y="257766"/>
                  </a:lnTo>
                  <a:lnTo>
                    <a:pt x="96841" y="262455"/>
                  </a:lnTo>
                  <a:lnTo>
                    <a:pt x="101268" y="260515"/>
                  </a:lnTo>
                  <a:lnTo>
                    <a:pt x="105372" y="263048"/>
                  </a:lnTo>
                  <a:lnTo>
                    <a:pt x="104886" y="258251"/>
                  </a:lnTo>
                  <a:lnTo>
                    <a:pt x="108585" y="255124"/>
                  </a:lnTo>
                  <a:lnTo>
                    <a:pt x="103860" y="254100"/>
                  </a:lnTo>
                  <a:close/>
                  <a:moveTo>
                    <a:pt x="254712" y="236203"/>
                  </a:moveTo>
                  <a:lnTo>
                    <a:pt x="253690" y="240928"/>
                  </a:lnTo>
                  <a:lnTo>
                    <a:pt x="249225" y="242764"/>
                  </a:lnTo>
                  <a:lnTo>
                    <a:pt x="253394" y="245220"/>
                  </a:lnTo>
                  <a:lnTo>
                    <a:pt x="253771" y="250026"/>
                  </a:lnTo>
                  <a:lnTo>
                    <a:pt x="257348" y="246813"/>
                  </a:lnTo>
                  <a:lnTo>
                    <a:pt x="262056" y="247974"/>
                  </a:lnTo>
                  <a:lnTo>
                    <a:pt x="260119" y="243520"/>
                  </a:lnTo>
                  <a:lnTo>
                    <a:pt x="262648" y="239416"/>
                  </a:lnTo>
                  <a:lnTo>
                    <a:pt x="257833" y="239902"/>
                  </a:lnTo>
                  <a:close/>
                  <a:moveTo>
                    <a:pt x="89793" y="236203"/>
                  </a:moveTo>
                  <a:lnTo>
                    <a:pt x="86626" y="239902"/>
                  </a:lnTo>
                  <a:lnTo>
                    <a:pt x="81739" y="239416"/>
                  </a:lnTo>
                  <a:lnTo>
                    <a:pt x="84333" y="243520"/>
                  </a:lnTo>
                  <a:lnTo>
                    <a:pt x="82340" y="247974"/>
                  </a:lnTo>
                  <a:lnTo>
                    <a:pt x="87118" y="246813"/>
                  </a:lnTo>
                  <a:lnTo>
                    <a:pt x="90749" y="250026"/>
                  </a:lnTo>
                  <a:lnTo>
                    <a:pt x="91131" y="245220"/>
                  </a:lnTo>
                  <a:lnTo>
                    <a:pt x="95363" y="242764"/>
                  </a:lnTo>
                  <a:lnTo>
                    <a:pt x="90831" y="240928"/>
                  </a:lnTo>
                  <a:close/>
                  <a:moveTo>
                    <a:pt x="264558" y="220977"/>
                  </a:moveTo>
                  <a:lnTo>
                    <a:pt x="264341" y="225819"/>
                  </a:lnTo>
                  <a:lnTo>
                    <a:pt x="260243" y="228416"/>
                  </a:lnTo>
                  <a:lnTo>
                    <a:pt x="264803" y="230093"/>
                  </a:lnTo>
                  <a:lnTo>
                    <a:pt x="265997" y="234800"/>
                  </a:lnTo>
                  <a:lnTo>
                    <a:pt x="269009" y="230986"/>
                  </a:lnTo>
                  <a:lnTo>
                    <a:pt x="273867" y="231311"/>
                  </a:lnTo>
                  <a:lnTo>
                    <a:pt x="271180" y="227280"/>
                  </a:lnTo>
                  <a:lnTo>
                    <a:pt x="272971" y="222762"/>
                  </a:lnTo>
                  <a:lnTo>
                    <a:pt x="268276" y="224088"/>
                  </a:lnTo>
                  <a:close/>
                  <a:moveTo>
                    <a:pt x="80029" y="220977"/>
                  </a:moveTo>
                  <a:lnTo>
                    <a:pt x="76311" y="224088"/>
                  </a:lnTo>
                  <a:lnTo>
                    <a:pt x="71616" y="222762"/>
                  </a:lnTo>
                  <a:lnTo>
                    <a:pt x="73407" y="227280"/>
                  </a:lnTo>
                  <a:lnTo>
                    <a:pt x="70721" y="231311"/>
                  </a:lnTo>
                  <a:lnTo>
                    <a:pt x="75578" y="230986"/>
                  </a:lnTo>
                  <a:lnTo>
                    <a:pt x="78590" y="234800"/>
                  </a:lnTo>
                  <a:lnTo>
                    <a:pt x="79785" y="230093"/>
                  </a:lnTo>
                  <a:lnTo>
                    <a:pt x="84344" y="228416"/>
                  </a:lnTo>
                  <a:lnTo>
                    <a:pt x="80246" y="225819"/>
                  </a:lnTo>
                  <a:close/>
                  <a:moveTo>
                    <a:pt x="271410" y="204148"/>
                  </a:moveTo>
                  <a:lnTo>
                    <a:pt x="272066" y="208985"/>
                  </a:lnTo>
                  <a:lnTo>
                    <a:pt x="268457" y="212245"/>
                  </a:lnTo>
                  <a:lnTo>
                    <a:pt x="273269" y="213115"/>
                  </a:lnTo>
                  <a:lnTo>
                    <a:pt x="275292" y="217571"/>
                  </a:lnTo>
                  <a:lnTo>
                    <a:pt x="277615" y="213278"/>
                  </a:lnTo>
                  <a:lnTo>
                    <a:pt x="282481" y="212734"/>
                  </a:lnTo>
                  <a:lnTo>
                    <a:pt x="279091" y="209229"/>
                  </a:lnTo>
                  <a:lnTo>
                    <a:pt x="280076" y="204447"/>
                  </a:lnTo>
                  <a:lnTo>
                    <a:pt x="275674" y="206566"/>
                  </a:lnTo>
                  <a:close/>
                  <a:moveTo>
                    <a:pt x="73019" y="204148"/>
                  </a:moveTo>
                  <a:lnTo>
                    <a:pt x="68816" y="206566"/>
                  </a:lnTo>
                  <a:lnTo>
                    <a:pt x="64477" y="204447"/>
                  </a:lnTo>
                  <a:lnTo>
                    <a:pt x="65447" y="209229"/>
                  </a:lnTo>
                  <a:lnTo>
                    <a:pt x="62106" y="212734"/>
                  </a:lnTo>
                  <a:lnTo>
                    <a:pt x="66903" y="213278"/>
                  </a:lnTo>
                  <a:lnTo>
                    <a:pt x="69193" y="217571"/>
                  </a:lnTo>
                  <a:lnTo>
                    <a:pt x="71187" y="213115"/>
                  </a:lnTo>
                  <a:lnTo>
                    <a:pt x="75929" y="212245"/>
                  </a:lnTo>
                  <a:lnTo>
                    <a:pt x="72373" y="208985"/>
                  </a:lnTo>
                  <a:close/>
                  <a:moveTo>
                    <a:pt x="283915" y="185116"/>
                  </a:moveTo>
                  <a:lnTo>
                    <a:pt x="279950" y="187963"/>
                  </a:lnTo>
                  <a:lnTo>
                    <a:pt x="275388" y="186320"/>
                  </a:lnTo>
                  <a:lnTo>
                    <a:pt x="276854" y="191001"/>
                  </a:lnTo>
                  <a:lnTo>
                    <a:pt x="273867" y="194861"/>
                  </a:lnTo>
                  <a:lnTo>
                    <a:pt x="278755" y="194888"/>
                  </a:lnTo>
                  <a:lnTo>
                    <a:pt x="281498" y="198939"/>
                  </a:lnTo>
                  <a:lnTo>
                    <a:pt x="283019" y="194286"/>
                  </a:lnTo>
                  <a:lnTo>
                    <a:pt x="287690" y="192917"/>
                  </a:lnTo>
                  <a:lnTo>
                    <a:pt x="283780" y="190015"/>
                  </a:lnTo>
                  <a:close/>
                  <a:moveTo>
                    <a:pt x="60472" y="185116"/>
                  </a:moveTo>
                  <a:lnTo>
                    <a:pt x="60608" y="190015"/>
                  </a:lnTo>
                  <a:lnTo>
                    <a:pt x="56697" y="192917"/>
                  </a:lnTo>
                  <a:lnTo>
                    <a:pt x="61368" y="194286"/>
                  </a:lnTo>
                  <a:lnTo>
                    <a:pt x="62889" y="198939"/>
                  </a:lnTo>
                  <a:lnTo>
                    <a:pt x="65632" y="194888"/>
                  </a:lnTo>
                  <a:lnTo>
                    <a:pt x="70520" y="194861"/>
                  </a:lnTo>
                  <a:lnTo>
                    <a:pt x="67533" y="191001"/>
                  </a:lnTo>
                  <a:lnTo>
                    <a:pt x="68999" y="186320"/>
                  </a:lnTo>
                  <a:lnTo>
                    <a:pt x="64437" y="187963"/>
                  </a:lnTo>
                  <a:close/>
                  <a:moveTo>
                    <a:pt x="284437" y="165482"/>
                  </a:moveTo>
                  <a:lnTo>
                    <a:pt x="281057" y="168981"/>
                  </a:lnTo>
                  <a:lnTo>
                    <a:pt x="276271" y="168161"/>
                  </a:lnTo>
                  <a:lnTo>
                    <a:pt x="278542" y="172508"/>
                  </a:lnTo>
                  <a:lnTo>
                    <a:pt x="276271" y="176827"/>
                  </a:lnTo>
                  <a:lnTo>
                    <a:pt x="281057" y="176007"/>
                  </a:lnTo>
                  <a:lnTo>
                    <a:pt x="284437" y="179506"/>
                  </a:lnTo>
                  <a:lnTo>
                    <a:pt x="285140" y="174667"/>
                  </a:lnTo>
                  <a:lnTo>
                    <a:pt x="289493" y="172508"/>
                  </a:lnTo>
                  <a:lnTo>
                    <a:pt x="285140" y="170321"/>
                  </a:lnTo>
                  <a:close/>
                  <a:moveTo>
                    <a:pt x="60027" y="165482"/>
                  </a:moveTo>
                  <a:lnTo>
                    <a:pt x="59313" y="170321"/>
                  </a:lnTo>
                  <a:lnTo>
                    <a:pt x="54894" y="172508"/>
                  </a:lnTo>
                  <a:lnTo>
                    <a:pt x="59313" y="174667"/>
                  </a:lnTo>
                  <a:lnTo>
                    <a:pt x="60027" y="179506"/>
                  </a:lnTo>
                  <a:lnTo>
                    <a:pt x="63458" y="176007"/>
                  </a:lnTo>
                  <a:lnTo>
                    <a:pt x="68317" y="176827"/>
                  </a:lnTo>
                  <a:lnTo>
                    <a:pt x="66011" y="172508"/>
                  </a:lnTo>
                  <a:lnTo>
                    <a:pt x="68317" y="168161"/>
                  </a:lnTo>
                  <a:lnTo>
                    <a:pt x="63458" y="168981"/>
                  </a:lnTo>
                  <a:close/>
                  <a:moveTo>
                    <a:pt x="281498" y="146049"/>
                  </a:moveTo>
                  <a:lnTo>
                    <a:pt x="278755" y="150092"/>
                  </a:lnTo>
                  <a:lnTo>
                    <a:pt x="273867" y="150120"/>
                  </a:lnTo>
                  <a:lnTo>
                    <a:pt x="276854" y="153999"/>
                  </a:lnTo>
                  <a:lnTo>
                    <a:pt x="275388" y="158670"/>
                  </a:lnTo>
                  <a:lnTo>
                    <a:pt x="279950" y="157004"/>
                  </a:lnTo>
                  <a:lnTo>
                    <a:pt x="283915" y="159872"/>
                  </a:lnTo>
                  <a:lnTo>
                    <a:pt x="283780" y="154955"/>
                  </a:lnTo>
                  <a:lnTo>
                    <a:pt x="287690" y="152059"/>
                  </a:lnTo>
                  <a:lnTo>
                    <a:pt x="283019" y="150693"/>
                  </a:lnTo>
                  <a:close/>
                  <a:moveTo>
                    <a:pt x="62889" y="146049"/>
                  </a:moveTo>
                  <a:lnTo>
                    <a:pt x="61368" y="150693"/>
                  </a:lnTo>
                  <a:lnTo>
                    <a:pt x="56697" y="152059"/>
                  </a:lnTo>
                  <a:lnTo>
                    <a:pt x="60608" y="154955"/>
                  </a:lnTo>
                  <a:lnTo>
                    <a:pt x="60472" y="159872"/>
                  </a:lnTo>
                  <a:lnTo>
                    <a:pt x="64437" y="157004"/>
                  </a:lnTo>
                  <a:lnTo>
                    <a:pt x="68999" y="158670"/>
                  </a:lnTo>
                  <a:lnTo>
                    <a:pt x="67533" y="153999"/>
                  </a:lnTo>
                  <a:lnTo>
                    <a:pt x="70520" y="150120"/>
                  </a:lnTo>
                  <a:lnTo>
                    <a:pt x="65632" y="150092"/>
                  </a:lnTo>
                  <a:close/>
                  <a:moveTo>
                    <a:pt x="275292" y="127618"/>
                  </a:moveTo>
                  <a:lnTo>
                    <a:pt x="273269" y="132007"/>
                  </a:lnTo>
                  <a:lnTo>
                    <a:pt x="268457" y="132864"/>
                  </a:lnTo>
                  <a:lnTo>
                    <a:pt x="272066" y="136103"/>
                  </a:lnTo>
                  <a:lnTo>
                    <a:pt x="271410" y="140840"/>
                  </a:lnTo>
                  <a:lnTo>
                    <a:pt x="275674" y="138458"/>
                  </a:lnTo>
                  <a:lnTo>
                    <a:pt x="280076" y="140546"/>
                  </a:lnTo>
                  <a:lnTo>
                    <a:pt x="279091" y="135862"/>
                  </a:lnTo>
                  <a:lnTo>
                    <a:pt x="282481" y="132382"/>
                  </a:lnTo>
                  <a:lnTo>
                    <a:pt x="277615" y="131847"/>
                  </a:lnTo>
                  <a:close/>
                  <a:moveTo>
                    <a:pt x="69193" y="127618"/>
                  </a:moveTo>
                  <a:lnTo>
                    <a:pt x="66903" y="131847"/>
                  </a:lnTo>
                  <a:lnTo>
                    <a:pt x="62106" y="132382"/>
                  </a:lnTo>
                  <a:lnTo>
                    <a:pt x="65447" y="135862"/>
                  </a:lnTo>
                  <a:lnTo>
                    <a:pt x="64477" y="140546"/>
                  </a:lnTo>
                  <a:lnTo>
                    <a:pt x="68816" y="138458"/>
                  </a:lnTo>
                  <a:lnTo>
                    <a:pt x="73019" y="140840"/>
                  </a:lnTo>
                  <a:lnTo>
                    <a:pt x="72373" y="136103"/>
                  </a:lnTo>
                  <a:lnTo>
                    <a:pt x="75929" y="132864"/>
                  </a:lnTo>
                  <a:lnTo>
                    <a:pt x="71187" y="132007"/>
                  </a:lnTo>
                  <a:close/>
                  <a:moveTo>
                    <a:pt x="265997" y="110188"/>
                  </a:moveTo>
                  <a:lnTo>
                    <a:pt x="264803" y="114963"/>
                  </a:lnTo>
                  <a:lnTo>
                    <a:pt x="260243" y="116665"/>
                  </a:lnTo>
                  <a:lnTo>
                    <a:pt x="264341" y="119299"/>
                  </a:lnTo>
                  <a:lnTo>
                    <a:pt x="264558" y="124212"/>
                  </a:lnTo>
                  <a:lnTo>
                    <a:pt x="268276" y="121083"/>
                  </a:lnTo>
                  <a:lnTo>
                    <a:pt x="272971" y="122401"/>
                  </a:lnTo>
                  <a:lnTo>
                    <a:pt x="271180" y="117845"/>
                  </a:lnTo>
                  <a:lnTo>
                    <a:pt x="273867" y="113756"/>
                  </a:lnTo>
                  <a:lnTo>
                    <a:pt x="269009" y="114057"/>
                  </a:lnTo>
                  <a:close/>
                  <a:moveTo>
                    <a:pt x="78590" y="110188"/>
                  </a:moveTo>
                  <a:lnTo>
                    <a:pt x="75578" y="114057"/>
                  </a:lnTo>
                  <a:lnTo>
                    <a:pt x="70721" y="113756"/>
                  </a:lnTo>
                  <a:lnTo>
                    <a:pt x="73407" y="117845"/>
                  </a:lnTo>
                  <a:lnTo>
                    <a:pt x="71616" y="122401"/>
                  </a:lnTo>
                  <a:lnTo>
                    <a:pt x="76311" y="121083"/>
                  </a:lnTo>
                  <a:lnTo>
                    <a:pt x="80029" y="124212"/>
                  </a:lnTo>
                  <a:lnTo>
                    <a:pt x="80246" y="119299"/>
                  </a:lnTo>
                  <a:lnTo>
                    <a:pt x="84344" y="116665"/>
                  </a:lnTo>
                  <a:lnTo>
                    <a:pt x="79785" y="114963"/>
                  </a:lnTo>
                  <a:close/>
                  <a:moveTo>
                    <a:pt x="172293" y="107507"/>
                  </a:moveTo>
                  <a:cubicBezTo>
                    <a:pt x="169195" y="107507"/>
                    <a:pt x="166097" y="109253"/>
                    <a:pt x="164742" y="112163"/>
                  </a:cubicBezTo>
                  <a:lnTo>
                    <a:pt x="148477" y="145335"/>
                  </a:lnTo>
                  <a:lnTo>
                    <a:pt x="111881" y="150766"/>
                  </a:lnTo>
                  <a:cubicBezTo>
                    <a:pt x="108589" y="151154"/>
                    <a:pt x="106072" y="153482"/>
                    <a:pt x="104910" y="156392"/>
                  </a:cubicBezTo>
                  <a:cubicBezTo>
                    <a:pt x="103942" y="159496"/>
                    <a:pt x="104910" y="162988"/>
                    <a:pt x="107234" y="165121"/>
                  </a:cubicBezTo>
                  <a:lnTo>
                    <a:pt x="133567" y="190922"/>
                  </a:lnTo>
                  <a:lnTo>
                    <a:pt x="127371" y="227392"/>
                  </a:lnTo>
                  <a:cubicBezTo>
                    <a:pt x="126790" y="230689"/>
                    <a:pt x="128146" y="233987"/>
                    <a:pt x="130663" y="235733"/>
                  </a:cubicBezTo>
                  <a:cubicBezTo>
                    <a:pt x="132212" y="236897"/>
                    <a:pt x="133955" y="237479"/>
                    <a:pt x="135697" y="237479"/>
                  </a:cubicBezTo>
                  <a:cubicBezTo>
                    <a:pt x="137053" y="237479"/>
                    <a:pt x="138408" y="237091"/>
                    <a:pt x="139570" y="236509"/>
                  </a:cubicBezTo>
                  <a:lnTo>
                    <a:pt x="172293" y="219244"/>
                  </a:lnTo>
                  <a:lnTo>
                    <a:pt x="205016" y="236509"/>
                  </a:lnTo>
                  <a:cubicBezTo>
                    <a:pt x="206372" y="237091"/>
                    <a:pt x="207727" y="237479"/>
                    <a:pt x="209083" y="237479"/>
                  </a:cubicBezTo>
                  <a:cubicBezTo>
                    <a:pt x="210825" y="237479"/>
                    <a:pt x="212568" y="236897"/>
                    <a:pt x="213923" y="235733"/>
                  </a:cubicBezTo>
                  <a:cubicBezTo>
                    <a:pt x="216634" y="233987"/>
                    <a:pt x="217990" y="230689"/>
                    <a:pt x="217409" y="227392"/>
                  </a:cubicBezTo>
                  <a:lnTo>
                    <a:pt x="211213" y="190922"/>
                  </a:lnTo>
                  <a:lnTo>
                    <a:pt x="237546" y="165121"/>
                  </a:lnTo>
                  <a:cubicBezTo>
                    <a:pt x="239870" y="162988"/>
                    <a:pt x="240644" y="159496"/>
                    <a:pt x="239676" y="156392"/>
                  </a:cubicBezTo>
                  <a:cubicBezTo>
                    <a:pt x="238708" y="153482"/>
                    <a:pt x="235997" y="151154"/>
                    <a:pt x="232899" y="150766"/>
                  </a:cubicBezTo>
                  <a:lnTo>
                    <a:pt x="196303" y="145335"/>
                  </a:lnTo>
                  <a:lnTo>
                    <a:pt x="180038" y="112163"/>
                  </a:lnTo>
                  <a:cubicBezTo>
                    <a:pt x="178489" y="109253"/>
                    <a:pt x="175585" y="107507"/>
                    <a:pt x="172293" y="107507"/>
                  </a:cubicBezTo>
                  <a:close/>
                  <a:moveTo>
                    <a:pt x="253771" y="94962"/>
                  </a:moveTo>
                  <a:lnTo>
                    <a:pt x="253394" y="99795"/>
                  </a:lnTo>
                  <a:lnTo>
                    <a:pt x="249225" y="102225"/>
                  </a:lnTo>
                  <a:lnTo>
                    <a:pt x="253690" y="104061"/>
                  </a:lnTo>
                  <a:lnTo>
                    <a:pt x="254712" y="108785"/>
                  </a:lnTo>
                  <a:lnTo>
                    <a:pt x="257833" y="105114"/>
                  </a:lnTo>
                  <a:lnTo>
                    <a:pt x="262648" y="105573"/>
                  </a:lnTo>
                  <a:lnTo>
                    <a:pt x="260119" y="101469"/>
                  </a:lnTo>
                  <a:lnTo>
                    <a:pt x="262056" y="97041"/>
                  </a:lnTo>
                  <a:lnTo>
                    <a:pt x="257348" y="98175"/>
                  </a:lnTo>
                  <a:close/>
                  <a:moveTo>
                    <a:pt x="90749" y="94962"/>
                  </a:moveTo>
                  <a:lnTo>
                    <a:pt x="87118" y="98175"/>
                  </a:lnTo>
                  <a:lnTo>
                    <a:pt x="82340" y="97041"/>
                  </a:lnTo>
                  <a:lnTo>
                    <a:pt x="84333" y="101469"/>
                  </a:lnTo>
                  <a:lnTo>
                    <a:pt x="81739" y="105573"/>
                  </a:lnTo>
                  <a:lnTo>
                    <a:pt x="86626" y="105114"/>
                  </a:lnTo>
                  <a:lnTo>
                    <a:pt x="89793" y="108785"/>
                  </a:lnTo>
                  <a:lnTo>
                    <a:pt x="90831" y="104061"/>
                  </a:lnTo>
                  <a:lnTo>
                    <a:pt x="95363" y="102225"/>
                  </a:lnTo>
                  <a:lnTo>
                    <a:pt x="91131" y="99795"/>
                  </a:lnTo>
                  <a:close/>
                  <a:moveTo>
                    <a:pt x="239015" y="81940"/>
                  </a:moveTo>
                  <a:lnTo>
                    <a:pt x="239501" y="86827"/>
                  </a:lnTo>
                  <a:lnTo>
                    <a:pt x="235802" y="89993"/>
                  </a:lnTo>
                  <a:lnTo>
                    <a:pt x="240527" y="91031"/>
                  </a:lnTo>
                  <a:lnTo>
                    <a:pt x="242363" y="95563"/>
                  </a:lnTo>
                  <a:lnTo>
                    <a:pt x="244792" y="91331"/>
                  </a:lnTo>
                  <a:lnTo>
                    <a:pt x="249625" y="90976"/>
                  </a:lnTo>
                  <a:lnTo>
                    <a:pt x="246413" y="87318"/>
                  </a:lnTo>
                  <a:lnTo>
                    <a:pt x="247546" y="82568"/>
                  </a:lnTo>
                  <a:lnTo>
                    <a:pt x="243119" y="84533"/>
                  </a:lnTo>
                  <a:close/>
                  <a:moveTo>
                    <a:pt x="105372" y="81940"/>
                  </a:moveTo>
                  <a:lnTo>
                    <a:pt x="101268" y="84533"/>
                  </a:lnTo>
                  <a:lnTo>
                    <a:pt x="96841" y="82568"/>
                  </a:lnTo>
                  <a:lnTo>
                    <a:pt x="97975" y="87318"/>
                  </a:lnTo>
                  <a:lnTo>
                    <a:pt x="94762" y="90976"/>
                  </a:lnTo>
                  <a:lnTo>
                    <a:pt x="99594" y="91331"/>
                  </a:lnTo>
                  <a:lnTo>
                    <a:pt x="102024" y="95563"/>
                  </a:lnTo>
                  <a:lnTo>
                    <a:pt x="103860" y="91031"/>
                  </a:lnTo>
                  <a:lnTo>
                    <a:pt x="108585" y="89993"/>
                  </a:lnTo>
                  <a:lnTo>
                    <a:pt x="104886" y="86827"/>
                  </a:lnTo>
                  <a:close/>
                  <a:moveTo>
                    <a:pt x="230910" y="70720"/>
                  </a:moveTo>
                  <a:lnTo>
                    <a:pt x="226879" y="73474"/>
                  </a:lnTo>
                  <a:lnTo>
                    <a:pt x="222361" y="71629"/>
                  </a:lnTo>
                  <a:lnTo>
                    <a:pt x="223687" y="76393"/>
                  </a:lnTo>
                  <a:lnTo>
                    <a:pt x="220576" y="80193"/>
                  </a:lnTo>
                  <a:lnTo>
                    <a:pt x="225418" y="80386"/>
                  </a:lnTo>
                  <a:lnTo>
                    <a:pt x="228015" y="84544"/>
                  </a:lnTo>
                  <a:lnTo>
                    <a:pt x="229692" y="79918"/>
                  </a:lnTo>
                  <a:lnTo>
                    <a:pt x="234399" y="78706"/>
                  </a:lnTo>
                  <a:lnTo>
                    <a:pt x="230585" y="75650"/>
                  </a:lnTo>
                  <a:close/>
                  <a:moveTo>
                    <a:pt x="113678" y="70720"/>
                  </a:moveTo>
                  <a:lnTo>
                    <a:pt x="114002" y="75650"/>
                  </a:lnTo>
                  <a:lnTo>
                    <a:pt x="110188" y="78706"/>
                  </a:lnTo>
                  <a:lnTo>
                    <a:pt x="114895" y="79918"/>
                  </a:lnTo>
                  <a:lnTo>
                    <a:pt x="116572" y="84544"/>
                  </a:lnTo>
                  <a:lnTo>
                    <a:pt x="119169" y="80386"/>
                  </a:lnTo>
                  <a:lnTo>
                    <a:pt x="124011" y="80193"/>
                  </a:lnTo>
                  <a:lnTo>
                    <a:pt x="120900" y="76393"/>
                  </a:lnTo>
                  <a:lnTo>
                    <a:pt x="122226" y="71629"/>
                  </a:lnTo>
                  <a:lnTo>
                    <a:pt x="117708" y="73474"/>
                  </a:lnTo>
                  <a:close/>
                  <a:moveTo>
                    <a:pt x="212334" y="62106"/>
                  </a:moveTo>
                  <a:lnTo>
                    <a:pt x="208828" y="65489"/>
                  </a:lnTo>
                  <a:lnTo>
                    <a:pt x="204046" y="64507"/>
                  </a:lnTo>
                  <a:lnTo>
                    <a:pt x="206165" y="68900"/>
                  </a:lnTo>
                  <a:lnTo>
                    <a:pt x="203747" y="73156"/>
                  </a:lnTo>
                  <a:lnTo>
                    <a:pt x="208584" y="72501"/>
                  </a:lnTo>
                  <a:lnTo>
                    <a:pt x="211844" y="76130"/>
                  </a:lnTo>
                  <a:lnTo>
                    <a:pt x="212714" y="71301"/>
                  </a:lnTo>
                  <a:lnTo>
                    <a:pt x="217170" y="69282"/>
                  </a:lnTo>
                  <a:lnTo>
                    <a:pt x="212877" y="66962"/>
                  </a:lnTo>
                  <a:close/>
                  <a:moveTo>
                    <a:pt x="132182" y="62106"/>
                  </a:moveTo>
                  <a:lnTo>
                    <a:pt x="131646" y="66962"/>
                  </a:lnTo>
                  <a:lnTo>
                    <a:pt x="127417" y="69282"/>
                  </a:lnTo>
                  <a:lnTo>
                    <a:pt x="131807" y="71301"/>
                  </a:lnTo>
                  <a:lnTo>
                    <a:pt x="132663" y="76130"/>
                  </a:lnTo>
                  <a:lnTo>
                    <a:pt x="135875" y="72501"/>
                  </a:lnTo>
                  <a:lnTo>
                    <a:pt x="140640" y="73156"/>
                  </a:lnTo>
                  <a:lnTo>
                    <a:pt x="138258" y="68900"/>
                  </a:lnTo>
                  <a:lnTo>
                    <a:pt x="140345" y="64507"/>
                  </a:lnTo>
                  <a:lnTo>
                    <a:pt x="135635" y="65489"/>
                  </a:lnTo>
                  <a:close/>
                  <a:moveTo>
                    <a:pt x="192615" y="56897"/>
                  </a:moveTo>
                  <a:lnTo>
                    <a:pt x="189761" y="60835"/>
                  </a:lnTo>
                  <a:lnTo>
                    <a:pt x="184915" y="60672"/>
                  </a:lnTo>
                  <a:lnTo>
                    <a:pt x="187742" y="64637"/>
                  </a:lnTo>
                  <a:lnTo>
                    <a:pt x="186127" y="69227"/>
                  </a:lnTo>
                  <a:lnTo>
                    <a:pt x="190704" y="67733"/>
                  </a:lnTo>
                  <a:lnTo>
                    <a:pt x="194527" y="70720"/>
                  </a:lnTo>
                  <a:lnTo>
                    <a:pt x="194554" y="65832"/>
                  </a:lnTo>
                  <a:lnTo>
                    <a:pt x="198538" y="63089"/>
                  </a:lnTo>
                  <a:lnTo>
                    <a:pt x="193961" y="61568"/>
                  </a:lnTo>
                  <a:close/>
                  <a:moveTo>
                    <a:pt x="151859" y="56897"/>
                  </a:moveTo>
                  <a:lnTo>
                    <a:pt x="150493" y="61568"/>
                  </a:lnTo>
                  <a:lnTo>
                    <a:pt x="145849" y="63089"/>
                  </a:lnTo>
                  <a:lnTo>
                    <a:pt x="149892" y="65832"/>
                  </a:lnTo>
                  <a:lnTo>
                    <a:pt x="149919" y="70720"/>
                  </a:lnTo>
                  <a:lnTo>
                    <a:pt x="153798" y="67733"/>
                  </a:lnTo>
                  <a:lnTo>
                    <a:pt x="158443" y="69227"/>
                  </a:lnTo>
                  <a:lnTo>
                    <a:pt x="156804" y="64637"/>
                  </a:lnTo>
                  <a:lnTo>
                    <a:pt x="159672" y="60672"/>
                  </a:lnTo>
                  <a:lnTo>
                    <a:pt x="154755" y="60835"/>
                  </a:lnTo>
                  <a:close/>
                  <a:moveTo>
                    <a:pt x="172307" y="55094"/>
                  </a:moveTo>
                  <a:lnTo>
                    <a:pt x="170121" y="59447"/>
                  </a:lnTo>
                  <a:lnTo>
                    <a:pt x="165282" y="60150"/>
                  </a:lnTo>
                  <a:lnTo>
                    <a:pt x="168781" y="63530"/>
                  </a:lnTo>
                  <a:lnTo>
                    <a:pt x="167961" y="68316"/>
                  </a:lnTo>
                  <a:lnTo>
                    <a:pt x="172307" y="66045"/>
                  </a:lnTo>
                  <a:lnTo>
                    <a:pt x="176627" y="68316"/>
                  </a:lnTo>
                  <a:lnTo>
                    <a:pt x="175806" y="63530"/>
                  </a:lnTo>
                  <a:lnTo>
                    <a:pt x="179306" y="60150"/>
                  </a:lnTo>
                  <a:lnTo>
                    <a:pt x="174467" y="59447"/>
                  </a:lnTo>
                  <a:close/>
                  <a:moveTo>
                    <a:pt x="171615" y="48293"/>
                  </a:moveTo>
                  <a:cubicBezTo>
                    <a:pt x="239051" y="48293"/>
                    <a:pt x="293719" y="102961"/>
                    <a:pt x="293719" y="170398"/>
                  </a:cubicBezTo>
                  <a:cubicBezTo>
                    <a:pt x="293719" y="237834"/>
                    <a:pt x="239051" y="292503"/>
                    <a:pt x="171615" y="292503"/>
                  </a:cubicBezTo>
                  <a:cubicBezTo>
                    <a:pt x="104179" y="292503"/>
                    <a:pt x="49510" y="237834"/>
                    <a:pt x="49510" y="170398"/>
                  </a:cubicBezTo>
                  <a:cubicBezTo>
                    <a:pt x="49510" y="102961"/>
                    <a:pt x="104179" y="48293"/>
                    <a:pt x="171615" y="48293"/>
                  </a:cubicBezTo>
                  <a:close/>
                  <a:moveTo>
                    <a:pt x="171615" y="34348"/>
                  </a:moveTo>
                  <a:cubicBezTo>
                    <a:pt x="96477" y="34348"/>
                    <a:pt x="35565" y="95260"/>
                    <a:pt x="35565" y="170398"/>
                  </a:cubicBezTo>
                  <a:cubicBezTo>
                    <a:pt x="35565" y="245536"/>
                    <a:pt x="96477" y="306448"/>
                    <a:pt x="171615" y="306448"/>
                  </a:cubicBezTo>
                  <a:cubicBezTo>
                    <a:pt x="246753" y="306448"/>
                    <a:pt x="307665" y="245536"/>
                    <a:pt x="307665" y="170398"/>
                  </a:cubicBezTo>
                  <a:cubicBezTo>
                    <a:pt x="307665" y="95260"/>
                    <a:pt x="246753" y="34348"/>
                    <a:pt x="171615" y="34348"/>
                  </a:cubicBezTo>
                  <a:close/>
                  <a:moveTo>
                    <a:pt x="172307" y="0"/>
                  </a:moveTo>
                  <a:cubicBezTo>
                    <a:pt x="186784" y="0"/>
                    <a:pt x="198956" y="17777"/>
                    <a:pt x="212700" y="21468"/>
                  </a:cubicBezTo>
                  <a:cubicBezTo>
                    <a:pt x="226580" y="25187"/>
                    <a:pt x="246018" y="15932"/>
                    <a:pt x="258434" y="23124"/>
                  </a:cubicBezTo>
                  <a:cubicBezTo>
                    <a:pt x="270768" y="30235"/>
                    <a:pt x="272476" y="51703"/>
                    <a:pt x="282724" y="61936"/>
                  </a:cubicBezTo>
                  <a:cubicBezTo>
                    <a:pt x="292944" y="72195"/>
                    <a:pt x="314387" y="73905"/>
                    <a:pt x="321490" y="86254"/>
                  </a:cubicBezTo>
                  <a:cubicBezTo>
                    <a:pt x="328674" y="98684"/>
                    <a:pt x="319430" y="118144"/>
                    <a:pt x="323144" y="132040"/>
                  </a:cubicBezTo>
                  <a:cubicBezTo>
                    <a:pt x="326831" y="145801"/>
                    <a:pt x="344587" y="158014"/>
                    <a:pt x="344587" y="172508"/>
                  </a:cubicBezTo>
                  <a:cubicBezTo>
                    <a:pt x="344587" y="187001"/>
                    <a:pt x="326831" y="199214"/>
                    <a:pt x="323144" y="212975"/>
                  </a:cubicBezTo>
                  <a:cubicBezTo>
                    <a:pt x="319430" y="226844"/>
                    <a:pt x="328674" y="246304"/>
                    <a:pt x="321490" y="258734"/>
                  </a:cubicBezTo>
                  <a:cubicBezTo>
                    <a:pt x="314387" y="271083"/>
                    <a:pt x="292944" y="272793"/>
                    <a:pt x="282724" y="283052"/>
                  </a:cubicBezTo>
                  <a:cubicBezTo>
                    <a:pt x="272476" y="293312"/>
                    <a:pt x="270768" y="314753"/>
                    <a:pt x="258434" y="321891"/>
                  </a:cubicBezTo>
                  <a:cubicBezTo>
                    <a:pt x="246018" y="329056"/>
                    <a:pt x="226580" y="319801"/>
                    <a:pt x="212700" y="323520"/>
                  </a:cubicBezTo>
                  <a:cubicBezTo>
                    <a:pt x="198956" y="327211"/>
                    <a:pt x="186784" y="344988"/>
                    <a:pt x="172307" y="344988"/>
                  </a:cubicBezTo>
                  <a:cubicBezTo>
                    <a:pt x="157804" y="344988"/>
                    <a:pt x="145632" y="327211"/>
                    <a:pt x="131887" y="323520"/>
                  </a:cubicBezTo>
                  <a:cubicBezTo>
                    <a:pt x="118007" y="319801"/>
                    <a:pt x="98570" y="329056"/>
                    <a:pt x="86154" y="321891"/>
                  </a:cubicBezTo>
                  <a:cubicBezTo>
                    <a:pt x="73819" y="314753"/>
                    <a:pt x="72111" y="293312"/>
                    <a:pt x="61864" y="283052"/>
                  </a:cubicBezTo>
                  <a:cubicBezTo>
                    <a:pt x="51644" y="272793"/>
                    <a:pt x="30200" y="271083"/>
                    <a:pt x="23097" y="258734"/>
                  </a:cubicBezTo>
                  <a:cubicBezTo>
                    <a:pt x="15913" y="246304"/>
                    <a:pt x="25158" y="226844"/>
                    <a:pt x="21444" y="212975"/>
                  </a:cubicBezTo>
                  <a:cubicBezTo>
                    <a:pt x="17757" y="199214"/>
                    <a:pt x="0" y="187001"/>
                    <a:pt x="0" y="172508"/>
                  </a:cubicBezTo>
                  <a:cubicBezTo>
                    <a:pt x="0" y="158014"/>
                    <a:pt x="17757" y="145801"/>
                    <a:pt x="21444" y="132040"/>
                  </a:cubicBezTo>
                  <a:cubicBezTo>
                    <a:pt x="25158" y="118144"/>
                    <a:pt x="15913" y="98684"/>
                    <a:pt x="23097" y="86254"/>
                  </a:cubicBezTo>
                  <a:cubicBezTo>
                    <a:pt x="30200" y="73905"/>
                    <a:pt x="51644" y="72195"/>
                    <a:pt x="61864" y="61936"/>
                  </a:cubicBezTo>
                  <a:cubicBezTo>
                    <a:pt x="72111" y="51703"/>
                    <a:pt x="73819" y="30235"/>
                    <a:pt x="86154" y="23124"/>
                  </a:cubicBezTo>
                  <a:cubicBezTo>
                    <a:pt x="98570" y="15932"/>
                    <a:pt x="118007" y="25187"/>
                    <a:pt x="131887" y="21468"/>
                  </a:cubicBezTo>
                  <a:cubicBezTo>
                    <a:pt x="145632" y="17777"/>
                    <a:pt x="157804" y="0"/>
                    <a:pt x="17230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352"/>
            <p:cNvSpPr>
              <a:spLocks/>
            </p:cNvSpPr>
            <p:nvPr/>
          </p:nvSpPr>
          <p:spPr bwMode="auto">
            <a:xfrm>
              <a:off x="2766243" y="443760"/>
              <a:ext cx="145448" cy="207954"/>
            </a:xfrm>
            <a:custGeom>
              <a:avLst/>
              <a:gdLst>
                <a:gd name="T0" fmla="*/ 3234 w 5365"/>
                <a:gd name="T1" fmla="*/ 384 h 7662"/>
                <a:gd name="T2" fmla="*/ 1547 w 5365"/>
                <a:gd name="T3" fmla="*/ 444 h 7662"/>
                <a:gd name="T4" fmla="*/ 57 w 5365"/>
                <a:gd name="T5" fmla="*/ 1235 h 7662"/>
                <a:gd name="T6" fmla="*/ 0 w 5365"/>
                <a:gd name="T7" fmla="*/ 1233 h 7662"/>
                <a:gd name="T8" fmla="*/ 1722 w 5365"/>
                <a:gd name="T9" fmla="*/ 7662 h 7662"/>
                <a:gd name="T10" fmla="*/ 3185 w 5365"/>
                <a:gd name="T11" fmla="*/ 5834 h 7662"/>
                <a:gd name="T12" fmla="*/ 5365 w 5365"/>
                <a:gd name="T13" fmla="*/ 6686 h 7662"/>
                <a:gd name="T14" fmla="*/ 3574 w 5365"/>
                <a:gd name="T15" fmla="*/ 0 h 7662"/>
                <a:gd name="T16" fmla="*/ 3234 w 5365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5" h="7662">
                  <a:moveTo>
                    <a:pt x="3234" y="384"/>
                  </a:moveTo>
                  <a:cubicBezTo>
                    <a:pt x="2776" y="649"/>
                    <a:pt x="2059" y="307"/>
                    <a:pt x="1547" y="444"/>
                  </a:cubicBezTo>
                  <a:cubicBezTo>
                    <a:pt x="1040" y="580"/>
                    <a:pt x="591" y="1235"/>
                    <a:pt x="57" y="1235"/>
                  </a:cubicBezTo>
                  <a:cubicBezTo>
                    <a:pt x="37" y="1235"/>
                    <a:pt x="18" y="1235"/>
                    <a:pt x="0" y="1233"/>
                  </a:cubicBezTo>
                  <a:lnTo>
                    <a:pt x="1722" y="7662"/>
                  </a:lnTo>
                  <a:lnTo>
                    <a:pt x="3185" y="5834"/>
                  </a:lnTo>
                  <a:lnTo>
                    <a:pt x="5365" y="6686"/>
                  </a:lnTo>
                  <a:lnTo>
                    <a:pt x="3574" y="0"/>
                  </a:lnTo>
                  <a:cubicBezTo>
                    <a:pt x="3485" y="162"/>
                    <a:pt x="3380" y="300"/>
                    <a:pt x="3234" y="38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353"/>
            <p:cNvSpPr>
              <a:spLocks/>
            </p:cNvSpPr>
            <p:nvPr/>
          </p:nvSpPr>
          <p:spPr bwMode="auto">
            <a:xfrm>
              <a:off x="2608373" y="443760"/>
              <a:ext cx="145448" cy="207954"/>
            </a:xfrm>
            <a:custGeom>
              <a:avLst/>
              <a:gdLst>
                <a:gd name="T0" fmla="*/ 2131 w 5366"/>
                <a:gd name="T1" fmla="*/ 384 h 7662"/>
                <a:gd name="T2" fmla="*/ 3818 w 5366"/>
                <a:gd name="T3" fmla="*/ 444 h 7662"/>
                <a:gd name="T4" fmla="*/ 5308 w 5366"/>
                <a:gd name="T5" fmla="*/ 1235 h 7662"/>
                <a:gd name="T6" fmla="*/ 5366 w 5366"/>
                <a:gd name="T7" fmla="*/ 1233 h 7662"/>
                <a:gd name="T8" fmla="*/ 3643 w 5366"/>
                <a:gd name="T9" fmla="*/ 7662 h 7662"/>
                <a:gd name="T10" fmla="*/ 2180 w 5366"/>
                <a:gd name="T11" fmla="*/ 5834 h 7662"/>
                <a:gd name="T12" fmla="*/ 0 w 5366"/>
                <a:gd name="T13" fmla="*/ 6686 h 7662"/>
                <a:gd name="T14" fmla="*/ 1791 w 5366"/>
                <a:gd name="T15" fmla="*/ 0 h 7662"/>
                <a:gd name="T16" fmla="*/ 2131 w 5366"/>
                <a:gd name="T17" fmla="*/ 384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66" h="7662">
                  <a:moveTo>
                    <a:pt x="2131" y="384"/>
                  </a:moveTo>
                  <a:cubicBezTo>
                    <a:pt x="2589" y="649"/>
                    <a:pt x="3306" y="307"/>
                    <a:pt x="3818" y="444"/>
                  </a:cubicBezTo>
                  <a:cubicBezTo>
                    <a:pt x="4325" y="580"/>
                    <a:pt x="4774" y="1235"/>
                    <a:pt x="5308" y="1235"/>
                  </a:cubicBezTo>
                  <a:cubicBezTo>
                    <a:pt x="5328" y="1235"/>
                    <a:pt x="5347" y="1235"/>
                    <a:pt x="5366" y="1233"/>
                  </a:cubicBezTo>
                  <a:lnTo>
                    <a:pt x="3643" y="7662"/>
                  </a:lnTo>
                  <a:lnTo>
                    <a:pt x="2180" y="5834"/>
                  </a:lnTo>
                  <a:lnTo>
                    <a:pt x="0" y="6686"/>
                  </a:lnTo>
                  <a:lnTo>
                    <a:pt x="1791" y="0"/>
                  </a:lnTo>
                  <a:cubicBezTo>
                    <a:pt x="1880" y="162"/>
                    <a:pt x="1985" y="300"/>
                    <a:pt x="2131" y="38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" name="Прямоугольник 33"/>
          <p:cNvSpPr/>
          <p:nvPr/>
        </p:nvSpPr>
        <p:spPr>
          <a:xfrm>
            <a:off x="1982142" y="4968686"/>
            <a:ext cx="9403608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sz="2000" b="1" dirty="0">
                <a:solidFill>
                  <a:srgbClr val="00B0F0"/>
                </a:solidFill>
                <a:ea typeface="Calibri" panose="020F0502020204030204" pitchFamily="34" charset="0"/>
              </a:rPr>
              <a:t>Студенты университета  п</a:t>
            </a:r>
            <a:r>
              <a:rPr lang="kk-KZ" sz="2000" b="1" dirty="0">
                <a:solidFill>
                  <a:srgbClr val="00B0F0"/>
                </a:solidFill>
                <a:ea typeface="Times New Roman" panose="02020603050405020304" pitchFamily="18" charset="0"/>
              </a:rPr>
              <a:t>риняли участие в </a:t>
            </a:r>
            <a:r>
              <a:rPr lang="kk-KZ" sz="2000" b="1" dirty="0">
                <a:solidFill>
                  <a:schemeClr val="bg1"/>
                </a:solidFill>
                <a:ea typeface="Calibri" panose="020F0502020204030204" pitchFamily="34" charset="0"/>
              </a:rPr>
              <a:t>2</a:t>
            </a:r>
            <a:r>
              <a:rPr lang="kk-KZ" sz="2000" b="1" dirty="0">
                <a:solidFill>
                  <a:srgbClr val="00B0F0"/>
                </a:solidFill>
                <a:ea typeface="Calibri" panose="020F0502020204030204" pitchFamily="34" charset="0"/>
              </a:rPr>
              <a:t> республиканских соревнованиях: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kk-KZ" sz="2000" b="1" dirty="0">
                <a:solidFill>
                  <a:srgbClr val="00B0F0"/>
                </a:solidFill>
                <a:ea typeface="Calibri" panose="020F0502020204030204" pitchFamily="34" charset="0"/>
              </a:rPr>
              <a:t> Республиканский онлайн-турнир по шахматам «Гроссмейстер в белом халате» среди обучающихся медицинских вузов Республики Казахстана - </a:t>
            </a:r>
            <a:r>
              <a:rPr lang="ru-RU" sz="2000" b="1" dirty="0">
                <a:solidFill>
                  <a:srgbClr val="00B0F0"/>
                </a:solidFill>
                <a:ea typeface="Calibri" panose="020F0502020204030204" pitchFamily="34" charset="0"/>
              </a:rPr>
              <a:t> </a:t>
            </a:r>
            <a:r>
              <a:rPr lang="kk-KZ" sz="2000" b="1" dirty="0">
                <a:solidFill>
                  <a:schemeClr val="bg1"/>
                </a:solidFill>
                <a:ea typeface="Calibri" panose="020F0502020204030204" pitchFamily="34" charset="0"/>
              </a:rPr>
              <a:t>2 </a:t>
            </a:r>
            <a:r>
              <a:rPr lang="kk-KZ" sz="2000" b="1" dirty="0">
                <a:solidFill>
                  <a:srgbClr val="00B0F0"/>
                </a:solidFill>
                <a:ea typeface="Calibri" panose="020F0502020204030204" pitchFamily="34" charset="0"/>
              </a:rPr>
              <a:t>место.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kk-KZ" sz="2000" b="1" dirty="0">
                <a:solidFill>
                  <a:srgbClr val="00B0F0"/>
                </a:solidFill>
                <a:ea typeface="Calibri" panose="020F0502020204030204" pitchFamily="34" charset="0"/>
              </a:rPr>
              <a:t>ХІ-летняя Универсиада Республики Казахстан</a:t>
            </a:r>
            <a:r>
              <a:rPr lang="ru-RU" sz="2000" b="1" dirty="0">
                <a:solidFill>
                  <a:srgbClr val="00B0F0"/>
                </a:solidFill>
                <a:ea typeface="Calibri" panose="020F0502020204030204" pitchFamily="34" charset="0"/>
              </a:rPr>
              <a:t> -</a:t>
            </a:r>
            <a:r>
              <a:rPr lang="en-US" sz="2000" b="1" dirty="0">
                <a:solidFill>
                  <a:srgbClr val="00B0F0"/>
                </a:solidFill>
                <a:ea typeface="Calibri" panose="020F0502020204030204" pitchFamily="34" charset="0"/>
              </a:rPr>
              <a:t> </a:t>
            </a:r>
            <a:r>
              <a:rPr lang="kk-KZ" sz="2000" b="1" dirty="0">
                <a:solidFill>
                  <a:srgbClr val="00B0F0"/>
                </a:solidFill>
              </a:rPr>
              <a:t>общекомандное </a:t>
            </a:r>
            <a:r>
              <a:rPr lang="kk-KZ" sz="2000" b="1" dirty="0">
                <a:solidFill>
                  <a:schemeClr val="bg1"/>
                </a:solidFill>
              </a:rPr>
              <a:t>7</a:t>
            </a:r>
            <a:r>
              <a:rPr lang="kk-KZ" sz="2000" b="1" dirty="0">
                <a:solidFill>
                  <a:srgbClr val="00B0F0"/>
                </a:solidFill>
              </a:rPr>
              <a:t> место</a:t>
            </a:r>
            <a:r>
              <a:rPr lang="kk-KZ" sz="2000" b="1" i="1" dirty="0">
                <a:solidFill>
                  <a:srgbClr val="00B0F0"/>
                </a:solidFill>
              </a:rPr>
              <a:t>. </a:t>
            </a:r>
            <a:endParaRPr lang="ru-RU" sz="2000" b="1" dirty="0">
              <a:solidFill>
                <a:srgbClr val="00B0F0"/>
              </a:solidFill>
            </a:endParaRPr>
          </a:p>
          <a:p>
            <a:r>
              <a:rPr lang="kk-KZ" b="1" i="1" dirty="0"/>
              <a:t> </a:t>
            </a:r>
            <a:endParaRPr lang="ru-RU" dirty="0"/>
          </a:p>
          <a:p>
            <a:endParaRPr lang="ru-RU" b="1" dirty="0">
              <a:solidFill>
                <a:srgbClr val="00B0F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821909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9426" y="707333"/>
            <a:ext cx="10515600" cy="991727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kk-KZ" b="1" i="1" dirty="0">
                <a:solidFill>
                  <a:srgbClr val="00B0F0"/>
                </a:solidFill>
              </a:rPr>
              <a:t>Противодействие идеям религиозного </a:t>
            </a:r>
            <a:br>
              <a:rPr lang="kk-KZ" b="1" i="1" dirty="0">
                <a:solidFill>
                  <a:srgbClr val="00B0F0"/>
                </a:solidFill>
              </a:rPr>
            </a:br>
            <a:r>
              <a:rPr lang="kk-KZ" b="1" i="1" dirty="0">
                <a:solidFill>
                  <a:srgbClr val="00B0F0"/>
                </a:solidFill>
              </a:rPr>
              <a:t>экстремизма и терроризма</a:t>
            </a:r>
            <a:br>
              <a:rPr lang="ru-RU" b="1" i="1" dirty="0">
                <a:solidFill>
                  <a:srgbClr val="76369A"/>
                </a:solidFill>
              </a:rPr>
            </a:br>
            <a:endParaRPr lang="ru-RU" b="1" i="1" dirty="0">
              <a:solidFill>
                <a:srgbClr val="76369A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34961" y="2079523"/>
            <a:ext cx="10515600" cy="2893859"/>
          </a:xfrm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kk-KZ" dirty="0">
                <a:solidFill>
                  <a:schemeClr val="bg1"/>
                </a:solidFill>
              </a:rPr>
              <a:t>Согласно  совместного графика  информационно – разъяснительной  работы по профилактике проявлений религиозного экстремизма и терроризма среди студенческой  молодежи с  «Центром мониторинга  и  анализа» Управления общественного развития г. Алматы и   Плана мероприятий по реализации  Государственной программы по противодействию религиозному экстремизму и терроризму в Республике Казахстан на 2018-2022 годы проведены:   </a:t>
            </a:r>
            <a:endParaRPr lang="ru-RU" dirty="0">
              <a:solidFill>
                <a:schemeClr val="bg1"/>
              </a:solidFill>
            </a:endParaRPr>
          </a:p>
          <a:p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838200" y="5094544"/>
            <a:ext cx="105643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3200" b="1" i="1" dirty="0">
                <a:solidFill>
                  <a:srgbClr val="00B0F0"/>
                </a:solidFill>
              </a:rPr>
              <a:t>5 онлайн лекций </a:t>
            </a:r>
            <a:r>
              <a:rPr lang="kk-KZ" sz="2600" dirty="0">
                <a:solidFill>
                  <a:schemeClr val="bg1"/>
                </a:solidFill>
              </a:rPr>
              <a:t>(Охват участников – </a:t>
            </a:r>
            <a:r>
              <a:rPr lang="en-US" sz="2600" dirty="0">
                <a:solidFill>
                  <a:schemeClr val="bg1"/>
                </a:solidFill>
              </a:rPr>
              <a:t>500</a:t>
            </a:r>
            <a:r>
              <a:rPr lang="kk-KZ" sz="2600" dirty="0">
                <a:solidFill>
                  <a:schemeClr val="bg1"/>
                </a:solidFill>
              </a:rPr>
              <a:t> чел.);</a:t>
            </a:r>
          </a:p>
        </p:txBody>
      </p:sp>
      <p:sp>
        <p:nvSpPr>
          <p:cNvPr id="6" name="Book8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449897" y="481203"/>
            <a:ext cx="1219057" cy="938726"/>
          </a:xfrm>
          <a:custGeom>
            <a:avLst/>
            <a:gdLst>
              <a:gd name="T0" fmla="*/ 80 w 162"/>
              <a:gd name="T1" fmla="*/ 24 h 125"/>
              <a:gd name="T2" fmla="*/ 0 w 162"/>
              <a:gd name="T3" fmla="*/ 0 h 125"/>
              <a:gd name="T4" fmla="*/ 0 w 162"/>
              <a:gd name="T5" fmla="*/ 100 h 125"/>
              <a:gd name="T6" fmla="*/ 80 w 162"/>
              <a:gd name="T7" fmla="*/ 125 h 125"/>
              <a:gd name="T8" fmla="*/ 162 w 162"/>
              <a:gd name="T9" fmla="*/ 100 h 125"/>
              <a:gd name="T10" fmla="*/ 162 w 162"/>
              <a:gd name="T11" fmla="*/ 0 h 125"/>
              <a:gd name="T12" fmla="*/ 80 w 162"/>
              <a:gd name="T13" fmla="*/ 24 h 125"/>
              <a:gd name="T14" fmla="*/ 150 w 162"/>
              <a:gd name="T15" fmla="*/ 87 h 125"/>
              <a:gd name="T16" fmla="*/ 80 w 162"/>
              <a:gd name="T17" fmla="*/ 108 h 125"/>
              <a:gd name="T18" fmla="*/ 12 w 162"/>
              <a:gd name="T19" fmla="*/ 87 h 125"/>
              <a:gd name="T20" fmla="*/ 12 w 162"/>
              <a:gd name="T21" fmla="*/ 12 h 125"/>
              <a:gd name="T22" fmla="*/ 71 w 162"/>
              <a:gd name="T23" fmla="*/ 32 h 125"/>
              <a:gd name="T24" fmla="*/ 81 w 162"/>
              <a:gd name="T25" fmla="*/ 41 h 125"/>
              <a:gd name="T26" fmla="*/ 89 w 162"/>
              <a:gd name="T27" fmla="*/ 32 h 125"/>
              <a:gd name="T28" fmla="*/ 150 w 162"/>
              <a:gd name="T29" fmla="*/ 12 h 125"/>
              <a:gd name="T30" fmla="*/ 150 w 162"/>
              <a:gd name="T31" fmla="*/ 87 h 125"/>
              <a:gd name="T32" fmla="*/ 87 w 162"/>
              <a:gd name="T33" fmla="*/ 90 h 125"/>
              <a:gd name="T34" fmla="*/ 86 w 162"/>
              <a:gd name="T35" fmla="*/ 88 h 125"/>
              <a:gd name="T36" fmla="*/ 137 w 162"/>
              <a:gd name="T37" fmla="*/ 73 h 125"/>
              <a:gd name="T38" fmla="*/ 137 w 162"/>
              <a:gd name="T39" fmla="*/ 76 h 125"/>
              <a:gd name="T40" fmla="*/ 87 w 162"/>
              <a:gd name="T41" fmla="*/ 90 h 125"/>
              <a:gd name="T42" fmla="*/ 87 w 162"/>
              <a:gd name="T43" fmla="*/ 78 h 125"/>
              <a:gd name="T44" fmla="*/ 86 w 162"/>
              <a:gd name="T45" fmla="*/ 75 h 125"/>
              <a:gd name="T46" fmla="*/ 137 w 162"/>
              <a:gd name="T47" fmla="*/ 61 h 125"/>
              <a:gd name="T48" fmla="*/ 137 w 162"/>
              <a:gd name="T49" fmla="*/ 63 h 125"/>
              <a:gd name="T50" fmla="*/ 87 w 162"/>
              <a:gd name="T51" fmla="*/ 78 h 125"/>
              <a:gd name="T52" fmla="*/ 87 w 162"/>
              <a:gd name="T53" fmla="*/ 65 h 125"/>
              <a:gd name="T54" fmla="*/ 86 w 162"/>
              <a:gd name="T55" fmla="*/ 63 h 125"/>
              <a:gd name="T56" fmla="*/ 137 w 162"/>
              <a:gd name="T57" fmla="*/ 48 h 125"/>
              <a:gd name="T58" fmla="*/ 137 w 162"/>
              <a:gd name="T59" fmla="*/ 51 h 125"/>
              <a:gd name="T60" fmla="*/ 87 w 162"/>
              <a:gd name="T61" fmla="*/ 66 h 125"/>
              <a:gd name="T62" fmla="*/ 87 w 162"/>
              <a:gd name="T63" fmla="*/ 65 h 125"/>
              <a:gd name="T64" fmla="*/ 87 w 162"/>
              <a:gd name="T65" fmla="*/ 53 h 125"/>
              <a:gd name="T66" fmla="*/ 86 w 162"/>
              <a:gd name="T67" fmla="*/ 50 h 125"/>
              <a:gd name="T68" fmla="*/ 137 w 162"/>
              <a:gd name="T69" fmla="*/ 36 h 125"/>
              <a:gd name="T70" fmla="*/ 137 w 162"/>
              <a:gd name="T71" fmla="*/ 38 h 125"/>
              <a:gd name="T72" fmla="*/ 87 w 162"/>
              <a:gd name="T73" fmla="*/ 53 h 125"/>
              <a:gd name="T74" fmla="*/ 73 w 162"/>
              <a:gd name="T75" fmla="*/ 90 h 125"/>
              <a:gd name="T76" fmla="*/ 25 w 162"/>
              <a:gd name="T77" fmla="*/ 76 h 125"/>
              <a:gd name="T78" fmla="*/ 25 w 162"/>
              <a:gd name="T79" fmla="*/ 73 h 125"/>
              <a:gd name="T80" fmla="*/ 75 w 162"/>
              <a:gd name="T81" fmla="*/ 88 h 125"/>
              <a:gd name="T82" fmla="*/ 73 w 162"/>
              <a:gd name="T83" fmla="*/ 90 h 125"/>
              <a:gd name="T84" fmla="*/ 73 w 162"/>
              <a:gd name="T85" fmla="*/ 78 h 125"/>
              <a:gd name="T86" fmla="*/ 25 w 162"/>
              <a:gd name="T87" fmla="*/ 63 h 125"/>
              <a:gd name="T88" fmla="*/ 25 w 162"/>
              <a:gd name="T89" fmla="*/ 61 h 125"/>
              <a:gd name="T90" fmla="*/ 75 w 162"/>
              <a:gd name="T91" fmla="*/ 76 h 125"/>
              <a:gd name="T92" fmla="*/ 73 w 162"/>
              <a:gd name="T93" fmla="*/ 78 h 125"/>
              <a:gd name="T94" fmla="*/ 73 w 162"/>
              <a:gd name="T95" fmla="*/ 65 h 125"/>
              <a:gd name="T96" fmla="*/ 25 w 162"/>
              <a:gd name="T97" fmla="*/ 51 h 125"/>
              <a:gd name="T98" fmla="*/ 25 w 162"/>
              <a:gd name="T99" fmla="*/ 48 h 125"/>
              <a:gd name="T100" fmla="*/ 75 w 162"/>
              <a:gd name="T101" fmla="*/ 63 h 125"/>
              <a:gd name="T102" fmla="*/ 73 w 162"/>
              <a:gd name="T103" fmla="*/ 65 h 125"/>
              <a:gd name="T104" fmla="*/ 73 w 162"/>
              <a:gd name="T105" fmla="*/ 53 h 125"/>
              <a:gd name="T106" fmla="*/ 25 w 162"/>
              <a:gd name="T107" fmla="*/ 38 h 125"/>
              <a:gd name="T108" fmla="*/ 25 w 162"/>
              <a:gd name="T109" fmla="*/ 36 h 125"/>
              <a:gd name="T110" fmla="*/ 75 w 162"/>
              <a:gd name="T111" fmla="*/ 51 h 125"/>
              <a:gd name="T112" fmla="*/ 73 w 162"/>
              <a:gd name="T113" fmla="*/ 53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62" h="125">
                <a:moveTo>
                  <a:pt x="80" y="24"/>
                </a:moveTo>
                <a:cubicBezTo>
                  <a:pt x="80" y="24"/>
                  <a:pt x="58" y="0"/>
                  <a:pt x="0" y="0"/>
                </a:cubicBezTo>
                <a:lnTo>
                  <a:pt x="0" y="100"/>
                </a:lnTo>
                <a:cubicBezTo>
                  <a:pt x="58" y="100"/>
                  <a:pt x="80" y="125"/>
                  <a:pt x="80" y="125"/>
                </a:cubicBezTo>
                <a:cubicBezTo>
                  <a:pt x="80" y="125"/>
                  <a:pt x="103" y="100"/>
                  <a:pt x="162" y="100"/>
                </a:cubicBezTo>
                <a:lnTo>
                  <a:pt x="162" y="0"/>
                </a:lnTo>
                <a:cubicBezTo>
                  <a:pt x="103" y="0"/>
                  <a:pt x="80" y="24"/>
                  <a:pt x="80" y="24"/>
                </a:cubicBezTo>
                <a:close/>
                <a:moveTo>
                  <a:pt x="150" y="87"/>
                </a:moveTo>
                <a:cubicBezTo>
                  <a:pt x="125" y="88"/>
                  <a:pt x="101" y="95"/>
                  <a:pt x="80" y="108"/>
                </a:cubicBezTo>
                <a:cubicBezTo>
                  <a:pt x="60" y="95"/>
                  <a:pt x="36" y="88"/>
                  <a:pt x="12" y="87"/>
                </a:cubicBezTo>
                <a:lnTo>
                  <a:pt x="12" y="12"/>
                </a:lnTo>
                <a:cubicBezTo>
                  <a:pt x="55" y="15"/>
                  <a:pt x="71" y="32"/>
                  <a:pt x="71" y="32"/>
                </a:cubicBezTo>
                <a:lnTo>
                  <a:pt x="81" y="41"/>
                </a:lnTo>
                <a:lnTo>
                  <a:pt x="89" y="32"/>
                </a:lnTo>
                <a:cubicBezTo>
                  <a:pt x="89" y="32"/>
                  <a:pt x="107" y="15"/>
                  <a:pt x="150" y="12"/>
                </a:cubicBezTo>
                <a:lnTo>
                  <a:pt x="150" y="87"/>
                </a:lnTo>
                <a:close/>
                <a:moveTo>
                  <a:pt x="87" y="90"/>
                </a:moveTo>
                <a:lnTo>
                  <a:pt x="86" y="88"/>
                </a:lnTo>
                <a:cubicBezTo>
                  <a:pt x="102" y="80"/>
                  <a:pt x="119" y="75"/>
                  <a:pt x="137" y="73"/>
                </a:cubicBezTo>
                <a:lnTo>
                  <a:pt x="137" y="76"/>
                </a:lnTo>
                <a:cubicBezTo>
                  <a:pt x="120" y="78"/>
                  <a:pt x="103" y="83"/>
                  <a:pt x="87" y="90"/>
                </a:cubicBezTo>
                <a:close/>
                <a:moveTo>
                  <a:pt x="87" y="78"/>
                </a:moveTo>
                <a:lnTo>
                  <a:pt x="86" y="75"/>
                </a:lnTo>
                <a:cubicBezTo>
                  <a:pt x="102" y="68"/>
                  <a:pt x="119" y="63"/>
                  <a:pt x="137" y="61"/>
                </a:cubicBezTo>
                <a:lnTo>
                  <a:pt x="137" y="63"/>
                </a:lnTo>
                <a:cubicBezTo>
                  <a:pt x="120" y="66"/>
                  <a:pt x="103" y="71"/>
                  <a:pt x="87" y="78"/>
                </a:cubicBezTo>
                <a:close/>
                <a:moveTo>
                  <a:pt x="87" y="65"/>
                </a:moveTo>
                <a:lnTo>
                  <a:pt x="86" y="63"/>
                </a:lnTo>
                <a:cubicBezTo>
                  <a:pt x="102" y="56"/>
                  <a:pt x="119" y="51"/>
                  <a:pt x="137" y="48"/>
                </a:cubicBezTo>
                <a:lnTo>
                  <a:pt x="137" y="51"/>
                </a:lnTo>
                <a:cubicBezTo>
                  <a:pt x="120" y="53"/>
                  <a:pt x="103" y="58"/>
                  <a:pt x="87" y="66"/>
                </a:cubicBezTo>
                <a:lnTo>
                  <a:pt x="87" y="65"/>
                </a:lnTo>
                <a:close/>
                <a:moveTo>
                  <a:pt x="87" y="53"/>
                </a:moveTo>
                <a:lnTo>
                  <a:pt x="86" y="50"/>
                </a:lnTo>
                <a:cubicBezTo>
                  <a:pt x="102" y="43"/>
                  <a:pt x="119" y="38"/>
                  <a:pt x="137" y="36"/>
                </a:cubicBezTo>
                <a:lnTo>
                  <a:pt x="137" y="38"/>
                </a:lnTo>
                <a:cubicBezTo>
                  <a:pt x="120" y="41"/>
                  <a:pt x="103" y="46"/>
                  <a:pt x="87" y="53"/>
                </a:cubicBezTo>
                <a:close/>
                <a:moveTo>
                  <a:pt x="73" y="90"/>
                </a:moveTo>
                <a:cubicBezTo>
                  <a:pt x="58" y="83"/>
                  <a:pt x="41" y="78"/>
                  <a:pt x="25" y="76"/>
                </a:cubicBezTo>
                <a:lnTo>
                  <a:pt x="25" y="73"/>
                </a:lnTo>
                <a:cubicBezTo>
                  <a:pt x="42" y="76"/>
                  <a:pt x="59" y="81"/>
                  <a:pt x="75" y="88"/>
                </a:cubicBezTo>
                <a:lnTo>
                  <a:pt x="73" y="90"/>
                </a:lnTo>
                <a:close/>
                <a:moveTo>
                  <a:pt x="73" y="78"/>
                </a:moveTo>
                <a:cubicBezTo>
                  <a:pt x="58" y="70"/>
                  <a:pt x="41" y="66"/>
                  <a:pt x="25" y="63"/>
                </a:cubicBezTo>
                <a:lnTo>
                  <a:pt x="25" y="61"/>
                </a:lnTo>
                <a:cubicBezTo>
                  <a:pt x="42" y="63"/>
                  <a:pt x="59" y="68"/>
                  <a:pt x="75" y="76"/>
                </a:cubicBezTo>
                <a:lnTo>
                  <a:pt x="73" y="78"/>
                </a:lnTo>
                <a:close/>
                <a:moveTo>
                  <a:pt x="73" y="65"/>
                </a:moveTo>
                <a:cubicBezTo>
                  <a:pt x="58" y="58"/>
                  <a:pt x="41" y="53"/>
                  <a:pt x="25" y="51"/>
                </a:cubicBezTo>
                <a:lnTo>
                  <a:pt x="25" y="48"/>
                </a:lnTo>
                <a:cubicBezTo>
                  <a:pt x="42" y="51"/>
                  <a:pt x="59" y="56"/>
                  <a:pt x="75" y="63"/>
                </a:cubicBezTo>
                <a:lnTo>
                  <a:pt x="73" y="65"/>
                </a:lnTo>
                <a:close/>
                <a:moveTo>
                  <a:pt x="73" y="53"/>
                </a:moveTo>
                <a:cubicBezTo>
                  <a:pt x="58" y="45"/>
                  <a:pt x="41" y="41"/>
                  <a:pt x="25" y="38"/>
                </a:cubicBezTo>
                <a:lnTo>
                  <a:pt x="25" y="36"/>
                </a:lnTo>
                <a:cubicBezTo>
                  <a:pt x="42" y="38"/>
                  <a:pt x="59" y="43"/>
                  <a:pt x="75" y="51"/>
                </a:cubicBezTo>
                <a:lnTo>
                  <a:pt x="73" y="53"/>
                </a:lnTo>
                <a:close/>
              </a:path>
            </a:pathLst>
          </a:custGeom>
          <a:solidFill>
            <a:srgbClr val="76369A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30298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31" t="20490" r="5435" b="16467"/>
          <a:stretch/>
        </p:blipFill>
        <p:spPr>
          <a:xfrm>
            <a:off x="418741" y="1537252"/>
            <a:ext cx="2829708" cy="208808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6478" y="365125"/>
            <a:ext cx="11519210" cy="1325563"/>
          </a:xfrm>
        </p:spPr>
        <p:txBody>
          <a:bodyPr/>
          <a:lstStyle/>
          <a:p>
            <a:pPr algn="ctr"/>
            <a:r>
              <a:rPr lang="kk-KZ" b="1" dirty="0"/>
              <a:t> </a:t>
            </a:r>
            <a:r>
              <a:rPr lang="kk-KZ" b="1" i="1" dirty="0">
                <a:solidFill>
                  <a:schemeClr val="bg1"/>
                </a:solidFill>
              </a:rPr>
              <a:t>Формирование антикоррупционной культуры</a:t>
            </a:r>
            <a:endParaRPr lang="ru-RU" i="1" dirty="0">
              <a:solidFill>
                <a:schemeClr val="bg1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5510" y="1466490"/>
            <a:ext cx="7847767" cy="5297563"/>
          </a:xfrm>
        </p:spPr>
        <p:txBody>
          <a:bodyPr>
            <a:normAutofit fontScale="77500" lnSpcReduction="20000"/>
          </a:bodyPr>
          <a:lstStyle/>
          <a:p>
            <a:pPr algn="just"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schemeClr val="bg1"/>
                </a:solidFill>
              </a:rPr>
              <a:t>27.01.2021г.-19.02.2021г.</a:t>
            </a:r>
            <a:r>
              <a:rPr lang="ru-RU" b="1" dirty="0">
                <a:solidFill>
                  <a:srgbClr val="00B0F0"/>
                </a:solidFill>
              </a:rPr>
              <a:t> проведено онлайн-анкетирование среди обучающихся на тему: «Чистая сессия» (охвачено – </a:t>
            </a:r>
            <a:r>
              <a:rPr lang="ru-RU" b="1" dirty="0">
                <a:solidFill>
                  <a:schemeClr val="bg1"/>
                </a:solidFill>
              </a:rPr>
              <a:t>8961 </a:t>
            </a:r>
            <a:r>
              <a:rPr lang="ru-RU" b="1" dirty="0">
                <a:solidFill>
                  <a:srgbClr val="00B0F0"/>
                </a:solidFill>
              </a:rPr>
              <a:t>человек) 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schemeClr val="bg1"/>
                </a:solidFill>
              </a:rPr>
              <a:t>16.03.2021г.-18.03.2021г. </a:t>
            </a:r>
            <a:r>
              <a:rPr lang="ru-RU" b="1" dirty="0">
                <a:solidFill>
                  <a:srgbClr val="00B0F0"/>
                </a:solidFill>
              </a:rPr>
              <a:t>проведено онлайн-анкетирование среди обучающихся на тему: «Коррупция в образовании – взгляд студента» (охвачено – </a:t>
            </a:r>
            <a:r>
              <a:rPr lang="ru-RU" b="1" dirty="0">
                <a:solidFill>
                  <a:schemeClr val="bg1"/>
                </a:solidFill>
              </a:rPr>
              <a:t>58</a:t>
            </a:r>
            <a:r>
              <a:rPr lang="kk-KZ" b="1" dirty="0">
                <a:solidFill>
                  <a:schemeClr val="bg1"/>
                </a:solidFill>
              </a:rPr>
              <a:t>12</a:t>
            </a:r>
            <a:r>
              <a:rPr lang="ru-RU" b="1" dirty="0">
                <a:solidFill>
                  <a:schemeClr val="bg1"/>
                </a:solidFill>
              </a:rPr>
              <a:t> </a:t>
            </a:r>
            <a:r>
              <a:rPr lang="ru-RU" b="1" dirty="0">
                <a:solidFill>
                  <a:srgbClr val="00B0F0"/>
                </a:solidFill>
              </a:rPr>
              <a:t>человек)</a:t>
            </a:r>
            <a:r>
              <a:rPr lang="kk-KZ" b="1" dirty="0">
                <a:solidFill>
                  <a:srgbClr val="00B0F0"/>
                </a:solidFill>
              </a:rPr>
              <a:t>. 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srgbClr val="00B0F0"/>
                </a:solidFill>
              </a:rPr>
              <a:t> с </a:t>
            </a:r>
            <a:r>
              <a:rPr lang="ru-RU" b="1" dirty="0">
                <a:solidFill>
                  <a:schemeClr val="bg1"/>
                </a:solidFill>
              </a:rPr>
              <a:t>10 июня</a:t>
            </a:r>
            <a:r>
              <a:rPr lang="kk-KZ" b="1" dirty="0">
                <a:solidFill>
                  <a:schemeClr val="bg1"/>
                </a:solidFill>
              </a:rPr>
              <a:t> 2021 г.  по сегодняшний день </a:t>
            </a:r>
            <a:r>
              <a:rPr lang="ru-RU" b="1" dirty="0">
                <a:solidFill>
                  <a:srgbClr val="00B0F0"/>
                </a:solidFill>
              </a:rPr>
              <a:t>проводится онлайн-анкетирование среди обучающихся на тему: «Чистая сессия» </a:t>
            </a:r>
            <a:r>
              <a:rPr lang="kk-KZ" b="1" dirty="0">
                <a:solidFill>
                  <a:srgbClr val="00B0F0"/>
                </a:solidFill>
              </a:rPr>
              <a:t>(охвачено</a:t>
            </a:r>
            <a:r>
              <a:rPr lang="ru-RU" b="1" dirty="0">
                <a:solidFill>
                  <a:srgbClr val="00B0F0"/>
                </a:solidFill>
              </a:rPr>
              <a:t> </a:t>
            </a:r>
            <a:r>
              <a:rPr lang="ru-RU" b="1" dirty="0">
                <a:solidFill>
                  <a:schemeClr val="bg1"/>
                </a:solidFill>
              </a:rPr>
              <a:t>4232</a:t>
            </a:r>
            <a:r>
              <a:rPr lang="kk-KZ" b="1" dirty="0">
                <a:solidFill>
                  <a:srgbClr val="00B0F0"/>
                </a:solidFill>
              </a:rPr>
              <a:t> человек</a:t>
            </a:r>
            <a:r>
              <a:rPr lang="ru-RU" b="1" dirty="0">
                <a:solidFill>
                  <a:srgbClr val="00B0F0"/>
                </a:solidFill>
              </a:rPr>
              <a:t> из </a:t>
            </a:r>
            <a:r>
              <a:rPr lang="kk-KZ" b="1" dirty="0">
                <a:solidFill>
                  <a:srgbClr val="00B0F0"/>
                </a:solidFill>
              </a:rPr>
              <a:t>контингента </a:t>
            </a:r>
            <a:r>
              <a:rPr lang="ru-RU" b="1" dirty="0">
                <a:solidFill>
                  <a:schemeClr val="bg1"/>
                </a:solidFill>
              </a:rPr>
              <a:t>9342</a:t>
            </a:r>
            <a:r>
              <a:rPr lang="ru-RU" b="1" dirty="0">
                <a:solidFill>
                  <a:srgbClr val="00B0F0"/>
                </a:solidFill>
              </a:rPr>
              <a:t>)</a:t>
            </a:r>
            <a:r>
              <a:rPr lang="kk-KZ" b="1" dirty="0">
                <a:solidFill>
                  <a:srgbClr val="00B0F0"/>
                </a:solidFill>
              </a:rPr>
              <a:t>.</a:t>
            </a:r>
            <a:endParaRPr lang="ru-RU" b="1" dirty="0">
              <a:solidFill>
                <a:srgbClr val="00B0F0"/>
              </a:solidFill>
            </a:endParaRPr>
          </a:p>
          <a:p>
            <a:pPr algn="just">
              <a:buFont typeface="Wingdings" panose="05000000000000000000" pitchFamily="2" charset="2"/>
              <a:buChar char="ü"/>
            </a:pPr>
            <a:r>
              <a:rPr lang="ru-RU" b="1" i="1" dirty="0">
                <a:solidFill>
                  <a:srgbClr val="00B0F0"/>
                </a:solidFill>
              </a:rPr>
              <a:t>На базе каждой школы и факультета функционируют ячейки </a:t>
            </a:r>
            <a:r>
              <a:rPr lang="ru-RU" b="1" i="1" dirty="0">
                <a:solidFill>
                  <a:schemeClr val="bg1"/>
                </a:solidFill>
              </a:rPr>
              <a:t>проектного офиса «</a:t>
            </a:r>
            <a:r>
              <a:rPr lang="en-US" b="1" i="1" dirty="0" err="1">
                <a:solidFill>
                  <a:schemeClr val="bg1"/>
                </a:solidFill>
              </a:rPr>
              <a:t>Sanaly</a:t>
            </a:r>
            <a:r>
              <a:rPr lang="en-US" b="1" i="1" dirty="0">
                <a:solidFill>
                  <a:schemeClr val="bg1"/>
                </a:solidFill>
              </a:rPr>
              <a:t> </a:t>
            </a:r>
            <a:r>
              <a:rPr lang="en-US" b="1" i="1" dirty="0" err="1">
                <a:solidFill>
                  <a:schemeClr val="bg1"/>
                </a:solidFill>
              </a:rPr>
              <a:t>urpaq</a:t>
            </a:r>
            <a:r>
              <a:rPr lang="ru-RU" b="1" i="1" dirty="0">
                <a:solidFill>
                  <a:schemeClr val="bg1"/>
                </a:solidFill>
              </a:rPr>
              <a:t>»</a:t>
            </a:r>
          </a:p>
          <a:p>
            <a:pPr algn="just">
              <a:buFont typeface="Wingdings" panose="05000000000000000000" pitchFamily="2" charset="2"/>
              <a:buChar char="ü"/>
            </a:pPr>
            <a:r>
              <a:rPr lang="ru-RU" b="1" i="1" dirty="0">
                <a:solidFill>
                  <a:srgbClr val="00B0F0"/>
                </a:solidFill>
              </a:rPr>
              <a:t>Организовано более </a:t>
            </a:r>
            <a:r>
              <a:rPr lang="ru-RU" b="1" i="1" dirty="0">
                <a:solidFill>
                  <a:schemeClr val="bg1"/>
                </a:solidFill>
              </a:rPr>
              <a:t>10</a:t>
            </a:r>
            <a:r>
              <a:rPr lang="ru-RU" b="1" i="1" dirty="0">
                <a:solidFill>
                  <a:srgbClr val="00B0F0"/>
                </a:solidFill>
              </a:rPr>
              <a:t> мероприятий</a:t>
            </a:r>
            <a:r>
              <a:rPr lang="ru-RU" b="1" i="1" dirty="0">
                <a:solidFill>
                  <a:schemeClr val="bg1"/>
                </a:solidFill>
              </a:rPr>
              <a:t> </a:t>
            </a:r>
            <a:r>
              <a:rPr lang="ru-RU" b="1" i="1" dirty="0">
                <a:solidFill>
                  <a:srgbClr val="00B0F0"/>
                </a:solidFill>
              </a:rPr>
              <a:t>среди которых стоит отметить онлайн-встречи </a:t>
            </a:r>
            <a:r>
              <a:rPr lang="ru-RU" b="1" dirty="0">
                <a:solidFill>
                  <a:srgbClr val="00B0F0"/>
                </a:solidFill>
              </a:rPr>
              <a:t>по</a:t>
            </a:r>
            <a:r>
              <a:rPr lang="kk-KZ" b="1" dirty="0">
                <a:solidFill>
                  <a:srgbClr val="00B0F0"/>
                </a:solidFill>
              </a:rPr>
              <a:t> ознакомлению и </a:t>
            </a:r>
            <a:r>
              <a:rPr lang="ru-RU" b="1" dirty="0">
                <a:solidFill>
                  <a:srgbClr val="00B0F0"/>
                </a:solidFill>
              </a:rPr>
              <a:t> разъяснению «Кодекса чести</a:t>
            </a:r>
            <a:r>
              <a:rPr lang="kk-KZ" b="1" dirty="0">
                <a:solidFill>
                  <a:srgbClr val="00B0F0"/>
                </a:solidFill>
              </a:rPr>
              <a:t> студента</a:t>
            </a:r>
            <a:r>
              <a:rPr lang="ru-RU" b="1" dirty="0">
                <a:solidFill>
                  <a:srgbClr val="00B0F0"/>
                </a:solidFill>
              </a:rPr>
              <a:t>» и «Кодекса академической честности», онлайн-конференцию «</a:t>
            </a:r>
            <a:r>
              <a:rPr lang="kk-KZ" b="1" dirty="0">
                <a:solidFill>
                  <a:srgbClr val="00B0F0"/>
                </a:solidFill>
              </a:rPr>
              <a:t>Адалдық жүрген жерде адамдық жүреді</a:t>
            </a:r>
            <a:r>
              <a:rPr lang="ru-RU" b="1" dirty="0">
                <a:solidFill>
                  <a:srgbClr val="00B0F0"/>
                </a:solidFill>
              </a:rPr>
              <a:t>», конкурс видеороликов «</a:t>
            </a:r>
            <a:r>
              <a:rPr lang="ru-RU" b="1" dirty="0" err="1">
                <a:solidFill>
                  <a:srgbClr val="00B0F0"/>
                </a:solidFill>
              </a:rPr>
              <a:t>Адал</a:t>
            </a:r>
            <a:r>
              <a:rPr lang="ru-RU" b="1" dirty="0">
                <a:solidFill>
                  <a:srgbClr val="00B0F0"/>
                </a:solidFill>
              </a:rPr>
              <a:t> бол».</a:t>
            </a:r>
            <a:endParaRPr lang="ru-RU" b="1" dirty="0"/>
          </a:p>
        </p:txBody>
      </p:sp>
      <p:pic>
        <p:nvPicPr>
          <p:cNvPr id="1026" name="Picture 2" descr="https://psv4.userapi.com/c848036/u420194400/docs/d14/6554cd3110ed/Parasat-Full-Logo.png?extra=wBdxPgo1uG_4FdWG-chfiQ11OUJbBBqln56Z2a6ZzFGu2hxz7Q-jj0Ll8CjlfeJhQyt39izt1qMFw2-9OmLK_Ec6ntGoYXxTxBx8zx0LAWtUTisHUQ9-rcvAWpDCTc31RrhZ-Ck_NWB6sUyfIhAoaTDl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061" y="4045133"/>
            <a:ext cx="2393067" cy="2393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6467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458468" y="1041547"/>
            <a:ext cx="977754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3600" b="1" i="1" dirty="0">
                <a:solidFill>
                  <a:schemeClr val="bg1"/>
                </a:solidFill>
              </a:rPr>
              <a:t>Формирование антикоррупционной культуры</a:t>
            </a:r>
            <a:endParaRPr lang="ru-RU" sz="3600" dirty="0">
              <a:solidFill>
                <a:schemeClr val="bg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472" y="2020825"/>
            <a:ext cx="5748528" cy="418106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750" y="2020824"/>
            <a:ext cx="5623306" cy="42656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6257715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5038" y="365559"/>
            <a:ext cx="10515600" cy="382007"/>
          </a:xfrm>
        </p:spPr>
        <p:txBody>
          <a:bodyPr>
            <a:normAutofit fontScale="90000"/>
          </a:bodyPr>
          <a:lstStyle/>
          <a:p>
            <a:r>
              <a:rPr lang="kk-KZ" b="1" i="1" dirty="0">
                <a:solidFill>
                  <a:schemeClr val="bg1"/>
                </a:solidFill>
              </a:rPr>
              <a:t>Развитие волонтерства среди студентов</a:t>
            </a:r>
            <a:endParaRPr lang="ru-RU" b="1" i="1" dirty="0">
              <a:solidFill>
                <a:schemeClr val="bg1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2506662"/>
            <a:ext cx="10770220" cy="4351338"/>
          </a:xfrm>
        </p:spPr>
        <p:txBody>
          <a:bodyPr/>
          <a:lstStyle/>
          <a:p>
            <a:pPr marL="0" indent="0" algn="just">
              <a:buNone/>
            </a:pPr>
            <a:endParaRPr lang="ru-RU" dirty="0"/>
          </a:p>
          <a:p>
            <a:pPr marL="0" indent="0" algn="just">
              <a:buNone/>
            </a:pPr>
            <a:endParaRPr lang="ru-RU" dirty="0"/>
          </a:p>
          <a:p>
            <a:pPr marL="0" indent="0" algn="just">
              <a:buNone/>
            </a:pPr>
            <a:endParaRPr lang="ru-RU" dirty="0"/>
          </a:p>
          <a:p>
            <a:pPr marL="0" indent="0" algn="just">
              <a:buNone/>
            </a:pPr>
            <a:endParaRPr lang="ru-RU" dirty="0"/>
          </a:p>
          <a:p>
            <a:pPr marL="0" indent="0" algn="just">
              <a:buNone/>
            </a:pPr>
            <a:endParaRPr lang="ru-RU" dirty="0"/>
          </a:p>
          <a:p>
            <a:pPr marL="0" indent="0" algn="just">
              <a:buNone/>
            </a:pPr>
            <a:endParaRPr lang="ru-RU" sz="2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5614638" y="962400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0"/>
              </a:spcAft>
            </a:pPr>
            <a:endParaRPr lang="ru-RU" sz="2000" dirty="0">
              <a:solidFill>
                <a:srgbClr val="00B0F0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12064" y="1113125"/>
            <a:ext cx="1119857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ea typeface="Calibri" panose="020F0502020204030204" pitchFamily="34" charset="0"/>
              </a:rPr>
              <a:t>На сегодняшний день в университете функционируют </a:t>
            </a:r>
            <a:r>
              <a:rPr lang="kk-KZ" b="1" dirty="0">
                <a:solidFill>
                  <a:schemeClr val="bg1"/>
                </a:solidFill>
                <a:ea typeface="Calibri" panose="020F0502020204030204" pitchFamily="34" charset="0"/>
              </a:rPr>
              <a:t>три </a:t>
            </a:r>
            <a:r>
              <a:rPr lang="ru-RU" b="1" dirty="0">
                <a:solidFill>
                  <a:schemeClr val="bg1"/>
                </a:solidFill>
                <a:ea typeface="Calibri" panose="020F0502020204030204" pitchFamily="34" charset="0"/>
              </a:rPr>
              <a:t>волонтерских организации: </a:t>
            </a:r>
            <a:r>
              <a:rPr lang="kk-KZ" b="1" dirty="0">
                <a:solidFill>
                  <a:schemeClr val="bg1"/>
                </a:solidFill>
                <a:ea typeface="Calibri" panose="020F0502020204030204" pitchFamily="34" charset="0"/>
              </a:rPr>
              <a:t>СО «Лига волонтеров» – 107 чел.;  Мейірімді жүрек – 46 чел.; </a:t>
            </a:r>
            <a:r>
              <a:rPr lang="ru-RU" b="1" dirty="0">
                <a:solidFill>
                  <a:schemeClr val="bg1"/>
                </a:solidFill>
                <a:ea typeface="Times New Roman" panose="02020603050405020304" pitchFamily="18" charset="0"/>
              </a:rPr>
              <a:t>«Медицинская молодежь Казахстана» </a:t>
            </a:r>
            <a:r>
              <a:rPr lang="kk-KZ" b="1" dirty="0">
                <a:solidFill>
                  <a:schemeClr val="bg1"/>
                </a:solidFill>
                <a:ea typeface="Calibri" panose="020F0502020204030204" pitchFamily="34" charset="0"/>
              </a:rPr>
              <a:t>– 387 чел., а также проводилась системная р</a:t>
            </a:r>
            <a:r>
              <a:rPr lang="ru-RU" b="1" dirty="0" err="1">
                <a:solidFill>
                  <a:schemeClr val="bg1"/>
                </a:solidFill>
                <a:ea typeface="Calibri" panose="020F0502020204030204" pitchFamily="34" charset="0"/>
              </a:rPr>
              <a:t>абота</a:t>
            </a:r>
            <a:r>
              <a:rPr lang="ru-RU" b="1" dirty="0">
                <a:solidFill>
                  <a:schemeClr val="bg1"/>
                </a:solidFill>
                <a:ea typeface="Calibri" panose="020F0502020204030204" pitchFamily="34" charset="0"/>
              </a:rPr>
              <a:t> </a:t>
            </a:r>
            <a:r>
              <a:rPr lang="kk-KZ" b="1" dirty="0">
                <a:solidFill>
                  <a:schemeClr val="bg1"/>
                </a:solidFill>
                <a:ea typeface="Calibri" panose="020F0502020204030204" pitchFamily="34" charset="0"/>
              </a:rPr>
              <a:t> по социальному студенческому кредиту «</a:t>
            </a:r>
            <a:r>
              <a:rPr lang="en-US" b="1" dirty="0" err="1">
                <a:solidFill>
                  <a:schemeClr val="bg1"/>
                </a:solidFill>
                <a:ea typeface="Calibri" panose="020F0502020204030204" pitchFamily="34" charset="0"/>
              </a:rPr>
              <a:t>Kazvolenter</a:t>
            </a:r>
            <a:r>
              <a:rPr lang="kk-KZ" b="1" dirty="0">
                <a:solidFill>
                  <a:schemeClr val="bg1"/>
                </a:solidFill>
                <a:ea typeface="Calibri" panose="020F0502020204030204" pitchFamily="34" charset="0"/>
              </a:rPr>
              <a:t>»</a:t>
            </a:r>
            <a:r>
              <a:rPr lang="ru-RU" b="1" dirty="0">
                <a:solidFill>
                  <a:schemeClr val="bg1"/>
                </a:solidFill>
                <a:ea typeface="Calibri" panose="020F0502020204030204" pitchFamily="34" charset="0"/>
              </a:rPr>
              <a:t> - 200 чел.</a:t>
            </a:r>
            <a:r>
              <a:rPr lang="kk-KZ" b="1" dirty="0">
                <a:solidFill>
                  <a:schemeClr val="bg1"/>
                </a:solidFill>
                <a:ea typeface="Calibri" panose="020F0502020204030204" pitchFamily="34" charset="0"/>
              </a:rPr>
              <a:t>, </a:t>
            </a:r>
            <a:r>
              <a:rPr lang="ru-RU" b="1" dirty="0">
                <a:solidFill>
                  <a:schemeClr val="bg1"/>
                </a:solidFill>
                <a:ea typeface="Calibri" panose="020F0502020204030204" pitchFamily="34" charset="0"/>
              </a:rPr>
              <a:t>всего охваченных волонтерским движением</a:t>
            </a:r>
            <a:r>
              <a:rPr lang="ru-RU" b="1" dirty="0">
                <a:solidFill>
                  <a:prstClr val="white"/>
                </a:solidFill>
                <a:ea typeface="Calibri" panose="020F0502020204030204" pitchFamily="34" charset="0"/>
              </a:rPr>
              <a:t> более </a:t>
            </a:r>
            <a:r>
              <a:rPr lang="kk-KZ" b="1" dirty="0">
                <a:solidFill>
                  <a:prstClr val="white"/>
                </a:solidFill>
                <a:ea typeface="Calibri" panose="020F0502020204030204" pitchFamily="34" charset="0"/>
              </a:rPr>
              <a:t>600</a:t>
            </a:r>
            <a:r>
              <a:rPr lang="ru-RU" b="1" dirty="0">
                <a:solidFill>
                  <a:prstClr val="white"/>
                </a:solidFill>
                <a:ea typeface="Calibri" panose="020F0502020204030204" pitchFamily="34" charset="0"/>
              </a:rPr>
              <a:t> студентов</a:t>
            </a:r>
            <a:r>
              <a:rPr lang="ru-RU" b="1" dirty="0">
                <a:solidFill>
                  <a:schemeClr val="bg1"/>
                </a:solidFill>
                <a:ea typeface="Calibri" panose="020F0502020204030204" pitchFamily="34" charset="0"/>
              </a:rPr>
              <a:t>. </a:t>
            </a:r>
            <a:endParaRPr lang="ru-RU" b="1" dirty="0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744" y="2464179"/>
            <a:ext cx="5604256" cy="408302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750" y="2464178"/>
            <a:ext cx="5645460" cy="408302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42111817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1953" y="263645"/>
            <a:ext cx="10820400" cy="1080294"/>
          </a:xfrm>
        </p:spPr>
        <p:txBody>
          <a:bodyPr>
            <a:normAutofit/>
          </a:bodyPr>
          <a:lstStyle/>
          <a:p>
            <a:pPr algn="ctr"/>
            <a:r>
              <a:rPr lang="kk-KZ" sz="4000" b="1" i="1" dirty="0">
                <a:solidFill>
                  <a:schemeClr val="bg1"/>
                </a:solidFill>
              </a:rPr>
              <a:t>Развитие волонтерства среди студентов</a:t>
            </a:r>
            <a:endParaRPr lang="ru-RU" sz="4000" dirty="0">
              <a:solidFill>
                <a:schemeClr val="bg1"/>
              </a:solidFill>
            </a:endParaRPr>
          </a:p>
        </p:txBody>
      </p:sp>
      <p:grpSp>
        <p:nvGrpSpPr>
          <p:cNvPr id="8" name="Ambulance">
            <a:extLst>
              <a:ext uri="{FF2B5EF4-FFF2-40B4-BE49-F238E27FC236}">
                <a16:creationId xmlns:a16="http://schemas.microsoft.com/office/drawing/2014/main" id="{E76EB810-95FB-4C37-AEBF-DDDA20AD26D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10139" y="223838"/>
            <a:ext cx="1625699" cy="1627982"/>
            <a:chOff x="4160838" y="2863850"/>
            <a:chExt cx="1130300" cy="1131888"/>
          </a:xfrm>
        </p:grpSpPr>
        <p:sp>
          <p:nvSpPr>
            <p:cNvPr id="9" name="Freeform 548">
              <a:extLst>
                <a:ext uri="{FF2B5EF4-FFF2-40B4-BE49-F238E27FC236}">
                  <a16:creationId xmlns:a16="http://schemas.microsoft.com/office/drawing/2014/main" id="{26B9B456-EC2C-423B-97BF-968EB758C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838" y="2863850"/>
              <a:ext cx="1130300" cy="1131888"/>
            </a:xfrm>
            <a:custGeom>
              <a:avLst/>
              <a:gdLst>
                <a:gd name="T0" fmla="*/ 990 w 1980"/>
                <a:gd name="T1" fmla="*/ 1980 h 1980"/>
                <a:gd name="T2" fmla="*/ 990 w 1980"/>
                <a:gd name="T3" fmla="*/ 1980 h 1980"/>
                <a:gd name="T4" fmla="*/ 0 w 1980"/>
                <a:gd name="T5" fmla="*/ 990 h 1980"/>
                <a:gd name="T6" fmla="*/ 0 w 1980"/>
                <a:gd name="T7" fmla="*/ 990 h 1980"/>
                <a:gd name="T8" fmla="*/ 990 w 1980"/>
                <a:gd name="T9" fmla="*/ 0 h 1980"/>
                <a:gd name="T10" fmla="*/ 990 w 1980"/>
                <a:gd name="T11" fmla="*/ 0 h 1980"/>
                <a:gd name="T12" fmla="*/ 1980 w 1980"/>
                <a:gd name="T13" fmla="*/ 990 h 1980"/>
                <a:gd name="T14" fmla="*/ 1980 w 1980"/>
                <a:gd name="T15" fmla="*/ 990 h 1980"/>
                <a:gd name="T16" fmla="*/ 990 w 1980"/>
                <a:gd name="T17" fmla="*/ 1980 h 19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80" h="1980">
                  <a:moveTo>
                    <a:pt x="990" y="1980"/>
                  </a:moveTo>
                  <a:lnTo>
                    <a:pt x="990" y="1980"/>
                  </a:lnTo>
                  <a:cubicBezTo>
                    <a:pt x="443" y="1980"/>
                    <a:pt x="0" y="1537"/>
                    <a:pt x="0" y="990"/>
                  </a:cubicBezTo>
                  <a:lnTo>
                    <a:pt x="0" y="990"/>
                  </a:lnTo>
                  <a:cubicBezTo>
                    <a:pt x="0" y="443"/>
                    <a:pt x="443" y="0"/>
                    <a:pt x="990" y="0"/>
                  </a:cubicBezTo>
                  <a:lnTo>
                    <a:pt x="990" y="0"/>
                  </a:lnTo>
                  <a:cubicBezTo>
                    <a:pt x="1537" y="0"/>
                    <a:pt x="1980" y="443"/>
                    <a:pt x="1980" y="990"/>
                  </a:cubicBezTo>
                  <a:lnTo>
                    <a:pt x="1980" y="990"/>
                  </a:lnTo>
                  <a:cubicBezTo>
                    <a:pt x="1980" y="1537"/>
                    <a:pt x="1537" y="1980"/>
                    <a:pt x="990" y="1980"/>
                  </a:cubicBezTo>
                  <a:close/>
                </a:path>
              </a:pathLst>
            </a:custGeom>
            <a:solidFill>
              <a:srgbClr val="54C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549">
              <a:extLst>
                <a:ext uri="{FF2B5EF4-FFF2-40B4-BE49-F238E27FC236}">
                  <a16:creationId xmlns:a16="http://schemas.microsoft.com/office/drawing/2014/main" id="{9C361917-6DF2-4DBA-986D-5BDEFCD54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1813" y="3205163"/>
              <a:ext cx="949325" cy="788988"/>
            </a:xfrm>
            <a:custGeom>
              <a:avLst/>
              <a:gdLst>
                <a:gd name="T0" fmla="*/ 1330 w 1665"/>
                <a:gd name="T1" fmla="*/ 0 h 1381"/>
                <a:gd name="T2" fmla="*/ 374 w 1665"/>
                <a:gd name="T3" fmla="*/ 0 h 1381"/>
                <a:gd name="T4" fmla="*/ 374 w 1665"/>
                <a:gd name="T5" fmla="*/ 86 h 1381"/>
                <a:gd name="T6" fmla="*/ 198 w 1665"/>
                <a:gd name="T7" fmla="*/ 86 h 1381"/>
                <a:gd name="T8" fmla="*/ 20 w 1665"/>
                <a:gd name="T9" fmla="*/ 330 h 1381"/>
                <a:gd name="T10" fmla="*/ 20 w 1665"/>
                <a:gd name="T11" fmla="*/ 382 h 1381"/>
                <a:gd name="T12" fmla="*/ 20 w 1665"/>
                <a:gd name="T13" fmla="*/ 460 h 1381"/>
                <a:gd name="T14" fmla="*/ 20 w 1665"/>
                <a:gd name="T15" fmla="*/ 600 h 1381"/>
                <a:gd name="T16" fmla="*/ 0 w 1665"/>
                <a:gd name="T17" fmla="*/ 600 h 1381"/>
                <a:gd name="T18" fmla="*/ 0 w 1665"/>
                <a:gd name="T19" fmla="*/ 639 h 1381"/>
                <a:gd name="T20" fmla="*/ 742 w 1665"/>
                <a:gd name="T21" fmla="*/ 1381 h 1381"/>
                <a:gd name="T22" fmla="*/ 1665 w 1665"/>
                <a:gd name="T23" fmla="*/ 393 h 1381"/>
                <a:gd name="T24" fmla="*/ 1665 w 1665"/>
                <a:gd name="T25" fmla="*/ 393 h 1381"/>
                <a:gd name="T26" fmla="*/ 1663 w 1665"/>
                <a:gd name="T27" fmla="*/ 334 h 1381"/>
                <a:gd name="T28" fmla="*/ 1330 w 1665"/>
                <a:gd name="T29" fmla="*/ 0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65" h="1381">
                  <a:moveTo>
                    <a:pt x="1330" y="0"/>
                  </a:moveTo>
                  <a:lnTo>
                    <a:pt x="374" y="0"/>
                  </a:lnTo>
                  <a:lnTo>
                    <a:pt x="374" y="86"/>
                  </a:lnTo>
                  <a:lnTo>
                    <a:pt x="198" y="86"/>
                  </a:lnTo>
                  <a:lnTo>
                    <a:pt x="20" y="330"/>
                  </a:lnTo>
                  <a:lnTo>
                    <a:pt x="20" y="382"/>
                  </a:lnTo>
                  <a:lnTo>
                    <a:pt x="20" y="460"/>
                  </a:lnTo>
                  <a:lnTo>
                    <a:pt x="20" y="600"/>
                  </a:lnTo>
                  <a:lnTo>
                    <a:pt x="0" y="600"/>
                  </a:lnTo>
                  <a:lnTo>
                    <a:pt x="0" y="639"/>
                  </a:lnTo>
                  <a:lnTo>
                    <a:pt x="742" y="1381"/>
                  </a:lnTo>
                  <a:cubicBezTo>
                    <a:pt x="1257" y="1346"/>
                    <a:pt x="1665" y="917"/>
                    <a:pt x="1665" y="393"/>
                  </a:cubicBezTo>
                  <a:lnTo>
                    <a:pt x="1665" y="393"/>
                  </a:lnTo>
                  <a:cubicBezTo>
                    <a:pt x="1665" y="373"/>
                    <a:pt x="1664" y="353"/>
                    <a:pt x="1663" y="334"/>
                  </a:cubicBezTo>
                  <a:lnTo>
                    <a:pt x="1330" y="0"/>
                  </a:lnTo>
                  <a:close/>
                </a:path>
              </a:pathLst>
            </a:custGeom>
            <a:solidFill>
              <a:srgbClr val="3B91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550">
              <a:extLst>
                <a:ext uri="{FF2B5EF4-FFF2-40B4-BE49-F238E27FC236}">
                  <a16:creationId xmlns:a16="http://schemas.microsoft.com/office/drawing/2014/main" id="{759D073A-F66B-4B26-AD18-AE9B737EF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2926" y="3205163"/>
              <a:ext cx="747713" cy="354013"/>
            </a:xfrm>
            <a:custGeom>
              <a:avLst/>
              <a:gdLst>
                <a:gd name="T0" fmla="*/ 64 w 471"/>
                <a:gd name="T1" fmla="*/ 31 h 223"/>
                <a:gd name="T2" fmla="*/ 127 w 471"/>
                <a:gd name="T3" fmla="*/ 31 h 223"/>
                <a:gd name="T4" fmla="*/ 127 w 471"/>
                <a:gd name="T5" fmla="*/ 0 h 223"/>
                <a:gd name="T6" fmla="*/ 471 w 471"/>
                <a:gd name="T7" fmla="*/ 0 h 223"/>
                <a:gd name="T8" fmla="*/ 471 w 471"/>
                <a:gd name="T9" fmla="*/ 223 h 223"/>
                <a:gd name="T10" fmla="*/ 127 w 471"/>
                <a:gd name="T11" fmla="*/ 223 h 223"/>
                <a:gd name="T12" fmla="*/ 0 w 471"/>
                <a:gd name="T13" fmla="*/ 223 h 223"/>
                <a:gd name="T14" fmla="*/ 0 w 471"/>
                <a:gd name="T15" fmla="*/ 118 h 223"/>
                <a:gd name="T16" fmla="*/ 64 w 471"/>
                <a:gd name="T17" fmla="*/ 31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1" h="223">
                  <a:moveTo>
                    <a:pt x="64" y="31"/>
                  </a:moveTo>
                  <a:lnTo>
                    <a:pt x="127" y="31"/>
                  </a:lnTo>
                  <a:lnTo>
                    <a:pt x="127" y="0"/>
                  </a:lnTo>
                  <a:lnTo>
                    <a:pt x="471" y="0"/>
                  </a:lnTo>
                  <a:lnTo>
                    <a:pt x="471" y="223"/>
                  </a:lnTo>
                  <a:lnTo>
                    <a:pt x="127" y="223"/>
                  </a:lnTo>
                  <a:lnTo>
                    <a:pt x="0" y="223"/>
                  </a:lnTo>
                  <a:lnTo>
                    <a:pt x="0" y="118"/>
                  </a:lnTo>
                  <a:lnTo>
                    <a:pt x="64" y="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551">
              <a:extLst>
                <a:ext uri="{FF2B5EF4-FFF2-40B4-BE49-F238E27FC236}">
                  <a16:creationId xmlns:a16="http://schemas.microsoft.com/office/drawing/2014/main" id="{F5364946-6DCF-46D5-B7D4-CC59D3FE5C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1813" y="3487738"/>
              <a:ext cx="769938" cy="82550"/>
            </a:xfrm>
            <a:custGeom>
              <a:avLst/>
              <a:gdLst>
                <a:gd name="T0" fmla="*/ 0 w 1350"/>
                <a:gd name="T1" fmla="*/ 143 h 143"/>
                <a:gd name="T2" fmla="*/ 109 w 1350"/>
                <a:gd name="T3" fmla="*/ 143 h 143"/>
                <a:gd name="T4" fmla="*/ 109 w 1350"/>
                <a:gd name="T5" fmla="*/ 124 h 143"/>
                <a:gd name="T6" fmla="*/ 193 w 1350"/>
                <a:gd name="T7" fmla="*/ 40 h 143"/>
                <a:gd name="T8" fmla="*/ 276 w 1350"/>
                <a:gd name="T9" fmla="*/ 124 h 143"/>
                <a:gd name="T10" fmla="*/ 276 w 1350"/>
                <a:gd name="T11" fmla="*/ 143 h 143"/>
                <a:gd name="T12" fmla="*/ 979 w 1350"/>
                <a:gd name="T13" fmla="*/ 143 h 143"/>
                <a:gd name="T14" fmla="*/ 979 w 1350"/>
                <a:gd name="T15" fmla="*/ 124 h 143"/>
                <a:gd name="T16" fmla="*/ 1062 w 1350"/>
                <a:gd name="T17" fmla="*/ 40 h 143"/>
                <a:gd name="T18" fmla="*/ 1146 w 1350"/>
                <a:gd name="T19" fmla="*/ 124 h 143"/>
                <a:gd name="T20" fmla="*/ 1146 w 1350"/>
                <a:gd name="T21" fmla="*/ 143 h 143"/>
                <a:gd name="T22" fmla="*/ 1350 w 1350"/>
                <a:gd name="T23" fmla="*/ 143 h 143"/>
                <a:gd name="T24" fmla="*/ 1350 w 1350"/>
                <a:gd name="T25" fmla="*/ 104 h 143"/>
                <a:gd name="T26" fmla="*/ 1184 w 1350"/>
                <a:gd name="T27" fmla="*/ 104 h 143"/>
                <a:gd name="T28" fmla="*/ 1062 w 1350"/>
                <a:gd name="T29" fmla="*/ 0 h 143"/>
                <a:gd name="T30" fmla="*/ 941 w 1350"/>
                <a:gd name="T31" fmla="*/ 104 h 143"/>
                <a:gd name="T32" fmla="*/ 314 w 1350"/>
                <a:gd name="T33" fmla="*/ 104 h 143"/>
                <a:gd name="T34" fmla="*/ 193 w 1350"/>
                <a:gd name="T35" fmla="*/ 0 h 143"/>
                <a:gd name="T36" fmla="*/ 71 w 1350"/>
                <a:gd name="T37" fmla="*/ 104 h 143"/>
                <a:gd name="T38" fmla="*/ 0 w 1350"/>
                <a:gd name="T39" fmla="*/ 104 h 143"/>
                <a:gd name="T40" fmla="*/ 0 w 1350"/>
                <a:gd name="T41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50" h="143">
                  <a:moveTo>
                    <a:pt x="0" y="143"/>
                  </a:moveTo>
                  <a:lnTo>
                    <a:pt x="109" y="143"/>
                  </a:lnTo>
                  <a:lnTo>
                    <a:pt x="109" y="124"/>
                  </a:lnTo>
                  <a:cubicBezTo>
                    <a:pt x="109" y="77"/>
                    <a:pt x="147" y="40"/>
                    <a:pt x="193" y="40"/>
                  </a:cubicBezTo>
                  <a:cubicBezTo>
                    <a:pt x="239" y="40"/>
                    <a:pt x="276" y="77"/>
                    <a:pt x="276" y="124"/>
                  </a:cubicBezTo>
                  <a:lnTo>
                    <a:pt x="276" y="143"/>
                  </a:lnTo>
                  <a:lnTo>
                    <a:pt x="979" y="143"/>
                  </a:lnTo>
                  <a:lnTo>
                    <a:pt x="979" y="124"/>
                  </a:lnTo>
                  <a:cubicBezTo>
                    <a:pt x="979" y="77"/>
                    <a:pt x="1016" y="40"/>
                    <a:pt x="1062" y="40"/>
                  </a:cubicBezTo>
                  <a:cubicBezTo>
                    <a:pt x="1109" y="40"/>
                    <a:pt x="1146" y="77"/>
                    <a:pt x="1146" y="124"/>
                  </a:cubicBezTo>
                  <a:lnTo>
                    <a:pt x="1146" y="143"/>
                  </a:lnTo>
                  <a:lnTo>
                    <a:pt x="1350" y="143"/>
                  </a:lnTo>
                  <a:lnTo>
                    <a:pt x="1350" y="104"/>
                  </a:lnTo>
                  <a:lnTo>
                    <a:pt x="1184" y="104"/>
                  </a:lnTo>
                  <a:cubicBezTo>
                    <a:pt x="1175" y="45"/>
                    <a:pt x="1124" y="0"/>
                    <a:pt x="1062" y="0"/>
                  </a:cubicBezTo>
                  <a:cubicBezTo>
                    <a:pt x="1001" y="0"/>
                    <a:pt x="950" y="45"/>
                    <a:pt x="941" y="104"/>
                  </a:cubicBezTo>
                  <a:lnTo>
                    <a:pt x="314" y="104"/>
                  </a:lnTo>
                  <a:cubicBezTo>
                    <a:pt x="305" y="45"/>
                    <a:pt x="254" y="0"/>
                    <a:pt x="193" y="0"/>
                  </a:cubicBezTo>
                  <a:cubicBezTo>
                    <a:pt x="132" y="0"/>
                    <a:pt x="81" y="45"/>
                    <a:pt x="71" y="104"/>
                  </a:cubicBezTo>
                  <a:lnTo>
                    <a:pt x="0" y="104"/>
                  </a:lnTo>
                  <a:lnTo>
                    <a:pt x="0" y="143"/>
                  </a:lnTo>
                  <a:close/>
                </a:path>
              </a:pathLst>
            </a:custGeom>
            <a:solidFill>
              <a:srgbClr val="4F63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Oval 552">
              <a:extLst>
                <a:ext uri="{FF2B5EF4-FFF2-40B4-BE49-F238E27FC236}">
                  <a16:creationId xmlns:a16="http://schemas.microsoft.com/office/drawing/2014/main" id="{BAB68E78-606F-40B3-827A-49B2577294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5851" y="3506788"/>
              <a:ext cx="103188" cy="103188"/>
            </a:xfrm>
            <a:prstGeom prst="ellipse">
              <a:avLst/>
            </a:prstGeom>
            <a:solidFill>
              <a:srgbClr val="304F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553">
              <a:extLst>
                <a:ext uri="{FF2B5EF4-FFF2-40B4-BE49-F238E27FC236}">
                  <a16:creationId xmlns:a16="http://schemas.microsoft.com/office/drawing/2014/main" id="{E0F255D6-6F03-4F14-911B-9E4CBF69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84738" y="3495675"/>
              <a:ext cx="125413" cy="125413"/>
            </a:xfrm>
            <a:custGeom>
              <a:avLst/>
              <a:gdLst>
                <a:gd name="T0" fmla="*/ 109 w 219"/>
                <a:gd name="T1" fmla="*/ 40 h 219"/>
                <a:gd name="T2" fmla="*/ 40 w 219"/>
                <a:gd name="T3" fmla="*/ 110 h 219"/>
                <a:gd name="T4" fmla="*/ 109 w 219"/>
                <a:gd name="T5" fmla="*/ 179 h 219"/>
                <a:gd name="T6" fmla="*/ 179 w 219"/>
                <a:gd name="T7" fmla="*/ 110 h 219"/>
                <a:gd name="T8" fmla="*/ 109 w 219"/>
                <a:gd name="T9" fmla="*/ 40 h 219"/>
                <a:gd name="T10" fmla="*/ 109 w 219"/>
                <a:gd name="T11" fmla="*/ 219 h 219"/>
                <a:gd name="T12" fmla="*/ 0 w 219"/>
                <a:gd name="T13" fmla="*/ 110 h 219"/>
                <a:gd name="T14" fmla="*/ 109 w 219"/>
                <a:gd name="T15" fmla="*/ 0 h 219"/>
                <a:gd name="T16" fmla="*/ 219 w 219"/>
                <a:gd name="T17" fmla="*/ 110 h 219"/>
                <a:gd name="T18" fmla="*/ 109 w 219"/>
                <a:gd name="T1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9" h="219">
                  <a:moveTo>
                    <a:pt x="109" y="40"/>
                  </a:moveTo>
                  <a:cubicBezTo>
                    <a:pt x="71" y="40"/>
                    <a:pt x="40" y="71"/>
                    <a:pt x="40" y="110"/>
                  </a:cubicBezTo>
                  <a:cubicBezTo>
                    <a:pt x="40" y="148"/>
                    <a:pt x="71" y="179"/>
                    <a:pt x="109" y="179"/>
                  </a:cubicBezTo>
                  <a:cubicBezTo>
                    <a:pt x="148" y="179"/>
                    <a:pt x="179" y="148"/>
                    <a:pt x="179" y="110"/>
                  </a:cubicBezTo>
                  <a:cubicBezTo>
                    <a:pt x="179" y="71"/>
                    <a:pt x="148" y="40"/>
                    <a:pt x="109" y="40"/>
                  </a:cubicBezTo>
                  <a:close/>
                  <a:moveTo>
                    <a:pt x="109" y="219"/>
                  </a:moveTo>
                  <a:cubicBezTo>
                    <a:pt x="49" y="219"/>
                    <a:pt x="0" y="170"/>
                    <a:pt x="0" y="110"/>
                  </a:cubicBezTo>
                  <a:cubicBezTo>
                    <a:pt x="0" y="49"/>
                    <a:pt x="49" y="0"/>
                    <a:pt x="109" y="0"/>
                  </a:cubicBezTo>
                  <a:cubicBezTo>
                    <a:pt x="170" y="0"/>
                    <a:pt x="219" y="49"/>
                    <a:pt x="219" y="110"/>
                  </a:cubicBezTo>
                  <a:cubicBezTo>
                    <a:pt x="219" y="170"/>
                    <a:pt x="170" y="219"/>
                    <a:pt x="109" y="219"/>
                  </a:cubicBezTo>
                  <a:close/>
                </a:path>
              </a:pathLst>
            </a:custGeom>
            <a:solidFill>
              <a:srgbClr val="304F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val 554">
              <a:extLst>
                <a:ext uri="{FF2B5EF4-FFF2-40B4-BE49-F238E27FC236}">
                  <a16:creationId xmlns:a16="http://schemas.microsoft.com/office/drawing/2014/main" id="{45719682-1BA4-4600-9577-FB92ACFD9D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3788" y="3514725"/>
              <a:ext cx="87313" cy="889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val 555">
              <a:extLst>
                <a:ext uri="{FF2B5EF4-FFF2-40B4-BE49-F238E27FC236}">
                  <a16:creationId xmlns:a16="http://schemas.microsoft.com/office/drawing/2014/main" id="{1614389E-EF9C-43F3-ADEC-66DBC9F75C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4901" y="3525838"/>
              <a:ext cx="65088" cy="65088"/>
            </a:xfrm>
            <a:prstGeom prst="ellipse">
              <a:avLst/>
            </a:prstGeom>
            <a:solidFill>
              <a:srgbClr val="9CA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Oval 556">
              <a:extLst>
                <a:ext uri="{FF2B5EF4-FFF2-40B4-BE49-F238E27FC236}">
                  <a16:creationId xmlns:a16="http://schemas.microsoft.com/office/drawing/2014/main" id="{C1772E1B-106F-4A48-BFBB-31DC1DC678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0551" y="3506788"/>
              <a:ext cx="101600" cy="103188"/>
            </a:xfrm>
            <a:prstGeom prst="ellipse">
              <a:avLst/>
            </a:prstGeom>
            <a:solidFill>
              <a:srgbClr val="304F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557">
              <a:extLst>
                <a:ext uri="{FF2B5EF4-FFF2-40B4-BE49-F238E27FC236}">
                  <a16:creationId xmlns:a16="http://schemas.microsoft.com/office/drawing/2014/main" id="{16927E68-52A3-41B5-911C-03229B7D4F3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89438" y="3495675"/>
              <a:ext cx="125413" cy="125413"/>
            </a:xfrm>
            <a:custGeom>
              <a:avLst/>
              <a:gdLst>
                <a:gd name="T0" fmla="*/ 109 w 218"/>
                <a:gd name="T1" fmla="*/ 40 h 219"/>
                <a:gd name="T2" fmla="*/ 39 w 218"/>
                <a:gd name="T3" fmla="*/ 110 h 219"/>
                <a:gd name="T4" fmla="*/ 109 w 218"/>
                <a:gd name="T5" fmla="*/ 179 h 219"/>
                <a:gd name="T6" fmla="*/ 178 w 218"/>
                <a:gd name="T7" fmla="*/ 110 h 219"/>
                <a:gd name="T8" fmla="*/ 109 w 218"/>
                <a:gd name="T9" fmla="*/ 40 h 219"/>
                <a:gd name="T10" fmla="*/ 109 w 218"/>
                <a:gd name="T11" fmla="*/ 219 h 219"/>
                <a:gd name="T12" fmla="*/ 0 w 218"/>
                <a:gd name="T13" fmla="*/ 110 h 219"/>
                <a:gd name="T14" fmla="*/ 109 w 218"/>
                <a:gd name="T15" fmla="*/ 0 h 219"/>
                <a:gd name="T16" fmla="*/ 218 w 218"/>
                <a:gd name="T17" fmla="*/ 110 h 219"/>
                <a:gd name="T18" fmla="*/ 109 w 218"/>
                <a:gd name="T19" fmla="*/ 219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8" h="219">
                  <a:moveTo>
                    <a:pt x="109" y="40"/>
                  </a:moveTo>
                  <a:cubicBezTo>
                    <a:pt x="70" y="40"/>
                    <a:pt x="39" y="71"/>
                    <a:pt x="39" y="110"/>
                  </a:cubicBezTo>
                  <a:cubicBezTo>
                    <a:pt x="39" y="148"/>
                    <a:pt x="70" y="179"/>
                    <a:pt x="109" y="179"/>
                  </a:cubicBezTo>
                  <a:cubicBezTo>
                    <a:pt x="147" y="179"/>
                    <a:pt x="178" y="148"/>
                    <a:pt x="178" y="110"/>
                  </a:cubicBezTo>
                  <a:cubicBezTo>
                    <a:pt x="178" y="71"/>
                    <a:pt x="147" y="40"/>
                    <a:pt x="109" y="40"/>
                  </a:cubicBezTo>
                  <a:close/>
                  <a:moveTo>
                    <a:pt x="109" y="219"/>
                  </a:moveTo>
                  <a:cubicBezTo>
                    <a:pt x="49" y="219"/>
                    <a:pt x="0" y="170"/>
                    <a:pt x="0" y="110"/>
                  </a:cubicBezTo>
                  <a:cubicBezTo>
                    <a:pt x="0" y="49"/>
                    <a:pt x="49" y="0"/>
                    <a:pt x="109" y="0"/>
                  </a:cubicBezTo>
                  <a:cubicBezTo>
                    <a:pt x="169" y="0"/>
                    <a:pt x="218" y="49"/>
                    <a:pt x="218" y="110"/>
                  </a:cubicBezTo>
                  <a:cubicBezTo>
                    <a:pt x="218" y="170"/>
                    <a:pt x="169" y="219"/>
                    <a:pt x="109" y="219"/>
                  </a:cubicBezTo>
                  <a:close/>
                </a:path>
              </a:pathLst>
            </a:custGeom>
            <a:solidFill>
              <a:srgbClr val="304F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Oval 558">
              <a:extLst>
                <a:ext uri="{FF2B5EF4-FFF2-40B4-BE49-F238E27FC236}">
                  <a16:creationId xmlns:a16="http://schemas.microsoft.com/office/drawing/2014/main" id="{207494D1-94BA-40FE-8AD0-88AC5571B6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6901" y="3514725"/>
              <a:ext cx="88900" cy="889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Oval 559">
              <a:extLst>
                <a:ext uri="{FF2B5EF4-FFF2-40B4-BE49-F238E27FC236}">
                  <a16:creationId xmlns:a16="http://schemas.microsoft.com/office/drawing/2014/main" id="{8D38D1D3-6ECD-40B8-B052-935266D37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9601" y="3525838"/>
              <a:ext cx="63500" cy="65088"/>
            </a:xfrm>
            <a:prstGeom prst="ellipse">
              <a:avLst/>
            </a:prstGeom>
            <a:solidFill>
              <a:srgbClr val="9CA1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560">
              <a:extLst>
                <a:ext uri="{FF2B5EF4-FFF2-40B4-BE49-F238E27FC236}">
                  <a16:creationId xmlns:a16="http://schemas.microsoft.com/office/drawing/2014/main" id="{F95D3B9F-8059-4FDD-8F08-4DF57C8D0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1501" y="3278188"/>
              <a:ext cx="171450" cy="115888"/>
            </a:xfrm>
            <a:custGeom>
              <a:avLst/>
              <a:gdLst>
                <a:gd name="T0" fmla="*/ 108 w 108"/>
                <a:gd name="T1" fmla="*/ 0 h 73"/>
                <a:gd name="T2" fmla="*/ 53 w 108"/>
                <a:gd name="T3" fmla="*/ 0 h 73"/>
                <a:gd name="T4" fmla="*/ 0 w 108"/>
                <a:gd name="T5" fmla="*/ 73 h 73"/>
                <a:gd name="T6" fmla="*/ 108 w 108"/>
                <a:gd name="T7" fmla="*/ 73 h 73"/>
                <a:gd name="T8" fmla="*/ 108 w 108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73">
                  <a:moveTo>
                    <a:pt x="108" y="0"/>
                  </a:moveTo>
                  <a:lnTo>
                    <a:pt x="53" y="0"/>
                  </a:lnTo>
                  <a:lnTo>
                    <a:pt x="0" y="73"/>
                  </a:lnTo>
                  <a:lnTo>
                    <a:pt x="108" y="73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99DB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ctangle 561">
              <a:extLst>
                <a:ext uri="{FF2B5EF4-FFF2-40B4-BE49-F238E27FC236}">
                  <a16:creationId xmlns:a16="http://schemas.microsoft.com/office/drawing/2014/main" id="{86B4DAAE-BEF6-444C-94F2-A43A2561D1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2926" y="3422650"/>
              <a:ext cx="747713" cy="44450"/>
            </a:xfrm>
            <a:prstGeom prst="rect">
              <a:avLst/>
            </a:prstGeom>
            <a:solidFill>
              <a:srgbClr val="D13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Rectangle 562">
              <a:extLst>
                <a:ext uri="{FF2B5EF4-FFF2-40B4-BE49-F238E27FC236}">
                  <a16:creationId xmlns:a16="http://schemas.microsoft.com/office/drawing/2014/main" id="{00EE1556-3A12-48E2-AAF0-403E85A411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68826" y="3216275"/>
              <a:ext cx="36513" cy="20638"/>
            </a:xfrm>
            <a:prstGeom prst="rect">
              <a:avLst/>
            </a:prstGeom>
            <a:solidFill>
              <a:srgbClr val="D13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563">
              <a:extLst>
                <a:ext uri="{FF2B5EF4-FFF2-40B4-BE49-F238E27FC236}">
                  <a16:creationId xmlns:a16="http://schemas.microsoft.com/office/drawing/2014/main" id="{81619FED-D4B5-4F9E-ADFA-90EDB4C442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3276" y="3216275"/>
              <a:ext cx="34925" cy="20638"/>
            </a:xfrm>
            <a:prstGeom prst="rect">
              <a:avLst/>
            </a:prstGeom>
            <a:solidFill>
              <a:srgbClr val="E7B0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Rectangle 564">
              <a:extLst>
                <a:ext uri="{FF2B5EF4-FFF2-40B4-BE49-F238E27FC236}">
                  <a16:creationId xmlns:a16="http://schemas.microsoft.com/office/drawing/2014/main" id="{4001D63B-7AE7-4A94-AE82-4671FB1B44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426" y="3216275"/>
              <a:ext cx="34925" cy="20638"/>
            </a:xfrm>
            <a:prstGeom prst="rect">
              <a:avLst/>
            </a:prstGeom>
            <a:solidFill>
              <a:srgbClr val="D135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Rectangle 565">
              <a:extLst>
                <a:ext uri="{FF2B5EF4-FFF2-40B4-BE49-F238E27FC236}">
                  <a16:creationId xmlns:a16="http://schemas.microsoft.com/office/drawing/2014/main" id="{070B13FA-32E5-40C5-9FE1-A8CF63E99C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6976" y="3216275"/>
              <a:ext cx="36513" cy="20638"/>
            </a:xfrm>
            <a:prstGeom prst="rect">
              <a:avLst/>
            </a:prstGeom>
            <a:solidFill>
              <a:srgbClr val="E7B0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Rectangle 566">
              <a:extLst>
                <a:ext uri="{FF2B5EF4-FFF2-40B4-BE49-F238E27FC236}">
                  <a16:creationId xmlns:a16="http://schemas.microsoft.com/office/drawing/2014/main" id="{622958FD-1093-4E27-825F-92FFE9946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7388" y="3278188"/>
              <a:ext cx="34925" cy="115888"/>
            </a:xfrm>
            <a:prstGeom prst="rect">
              <a:avLst/>
            </a:prstGeom>
            <a:solidFill>
              <a:srgbClr val="AAE1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567">
              <a:extLst>
                <a:ext uri="{FF2B5EF4-FFF2-40B4-BE49-F238E27FC236}">
                  <a16:creationId xmlns:a16="http://schemas.microsoft.com/office/drawing/2014/main" id="{7A36CA9D-ABE1-46F7-BA9F-5D58224AC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1051" y="3273425"/>
              <a:ext cx="134938" cy="274638"/>
            </a:xfrm>
            <a:custGeom>
              <a:avLst/>
              <a:gdLst>
                <a:gd name="T0" fmla="*/ 0 w 85"/>
                <a:gd name="T1" fmla="*/ 173 h 173"/>
                <a:gd name="T2" fmla="*/ 7 w 85"/>
                <a:gd name="T3" fmla="*/ 173 h 173"/>
                <a:gd name="T4" fmla="*/ 7 w 85"/>
                <a:gd name="T5" fmla="*/ 7 h 173"/>
                <a:gd name="T6" fmla="*/ 78 w 85"/>
                <a:gd name="T7" fmla="*/ 7 h 173"/>
                <a:gd name="T8" fmla="*/ 78 w 85"/>
                <a:gd name="T9" fmla="*/ 173 h 173"/>
                <a:gd name="T10" fmla="*/ 85 w 85"/>
                <a:gd name="T11" fmla="*/ 173 h 173"/>
                <a:gd name="T12" fmla="*/ 85 w 85"/>
                <a:gd name="T13" fmla="*/ 0 h 173"/>
                <a:gd name="T14" fmla="*/ 0 w 85"/>
                <a:gd name="T15" fmla="*/ 0 h 173"/>
                <a:gd name="T16" fmla="*/ 0 w 85"/>
                <a:gd name="T17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73">
                  <a:moveTo>
                    <a:pt x="0" y="173"/>
                  </a:moveTo>
                  <a:lnTo>
                    <a:pt x="7" y="173"/>
                  </a:lnTo>
                  <a:lnTo>
                    <a:pt x="7" y="7"/>
                  </a:lnTo>
                  <a:lnTo>
                    <a:pt x="78" y="7"/>
                  </a:lnTo>
                  <a:lnTo>
                    <a:pt x="78" y="173"/>
                  </a:lnTo>
                  <a:lnTo>
                    <a:pt x="85" y="17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73"/>
                  </a:lnTo>
                  <a:close/>
                </a:path>
              </a:pathLst>
            </a:custGeom>
            <a:solidFill>
              <a:srgbClr val="CACB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Rectangle 568">
              <a:extLst>
                <a:ext uri="{FF2B5EF4-FFF2-40B4-BE49-F238E27FC236}">
                  <a16:creationId xmlns:a16="http://schemas.microsoft.com/office/drawing/2014/main" id="{5A53FF78-FA3B-4623-823A-B969262526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4876" y="3422650"/>
              <a:ext cx="11113" cy="44450"/>
            </a:xfrm>
            <a:prstGeom prst="rect">
              <a:avLst/>
            </a:prstGeom>
            <a:solidFill>
              <a:srgbClr val="9D29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Rectangle 569">
              <a:extLst>
                <a:ext uri="{FF2B5EF4-FFF2-40B4-BE49-F238E27FC236}">
                  <a16:creationId xmlns:a16="http://schemas.microsoft.com/office/drawing/2014/main" id="{CD9CDDFD-999A-42E0-BAA0-1115F5721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1051" y="3422650"/>
              <a:ext cx="11113" cy="44450"/>
            </a:xfrm>
            <a:prstGeom prst="rect">
              <a:avLst/>
            </a:prstGeom>
            <a:solidFill>
              <a:srgbClr val="9D29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570">
              <a:extLst>
                <a:ext uri="{FF2B5EF4-FFF2-40B4-BE49-F238E27FC236}">
                  <a16:creationId xmlns:a16="http://schemas.microsoft.com/office/drawing/2014/main" id="{AFB2E6A8-24C6-4C79-9939-E3085D2E12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6176" y="3259138"/>
              <a:ext cx="19050" cy="101600"/>
            </a:xfrm>
            <a:prstGeom prst="rect">
              <a:avLst/>
            </a:prstGeom>
            <a:solidFill>
              <a:srgbClr val="54C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571">
              <a:extLst>
                <a:ext uri="{FF2B5EF4-FFF2-40B4-BE49-F238E27FC236}">
                  <a16:creationId xmlns:a16="http://schemas.microsoft.com/office/drawing/2014/main" id="{31CDB1AE-6547-49CB-8AEC-AF4C3C2BDE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2838" y="3267075"/>
              <a:ext cx="84138" cy="84138"/>
            </a:xfrm>
            <a:custGeom>
              <a:avLst/>
              <a:gdLst>
                <a:gd name="T0" fmla="*/ 46 w 53"/>
                <a:gd name="T1" fmla="*/ 53 h 53"/>
                <a:gd name="T2" fmla="*/ 53 w 53"/>
                <a:gd name="T3" fmla="*/ 45 h 53"/>
                <a:gd name="T4" fmla="*/ 9 w 53"/>
                <a:gd name="T5" fmla="*/ 0 h 53"/>
                <a:gd name="T6" fmla="*/ 0 w 53"/>
                <a:gd name="T7" fmla="*/ 8 h 53"/>
                <a:gd name="T8" fmla="*/ 46 w 53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3">
                  <a:moveTo>
                    <a:pt x="46" y="53"/>
                  </a:moveTo>
                  <a:lnTo>
                    <a:pt x="53" y="45"/>
                  </a:lnTo>
                  <a:lnTo>
                    <a:pt x="9" y="0"/>
                  </a:lnTo>
                  <a:lnTo>
                    <a:pt x="0" y="8"/>
                  </a:lnTo>
                  <a:lnTo>
                    <a:pt x="46" y="53"/>
                  </a:lnTo>
                  <a:close/>
                </a:path>
              </a:pathLst>
            </a:custGeom>
            <a:solidFill>
              <a:srgbClr val="54C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572">
              <a:extLst>
                <a:ext uri="{FF2B5EF4-FFF2-40B4-BE49-F238E27FC236}">
                  <a16:creationId xmlns:a16="http://schemas.microsoft.com/office/drawing/2014/main" id="{91448BC4-D8FE-4685-A8F6-BEFD5B6C37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4901" y="3300413"/>
              <a:ext cx="101600" cy="17463"/>
            </a:xfrm>
            <a:prstGeom prst="rect">
              <a:avLst/>
            </a:prstGeom>
            <a:solidFill>
              <a:srgbClr val="54C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573">
              <a:extLst>
                <a:ext uri="{FF2B5EF4-FFF2-40B4-BE49-F238E27FC236}">
                  <a16:creationId xmlns:a16="http://schemas.microsoft.com/office/drawing/2014/main" id="{A233CA4B-4ECF-4181-8741-70836C009E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2838" y="3267075"/>
              <a:ext cx="84138" cy="84138"/>
            </a:xfrm>
            <a:custGeom>
              <a:avLst/>
              <a:gdLst>
                <a:gd name="T0" fmla="*/ 53 w 53"/>
                <a:gd name="T1" fmla="*/ 8 h 53"/>
                <a:gd name="T2" fmla="*/ 46 w 53"/>
                <a:gd name="T3" fmla="*/ 0 h 53"/>
                <a:gd name="T4" fmla="*/ 0 w 53"/>
                <a:gd name="T5" fmla="*/ 45 h 53"/>
                <a:gd name="T6" fmla="*/ 9 w 53"/>
                <a:gd name="T7" fmla="*/ 53 h 53"/>
                <a:gd name="T8" fmla="*/ 53 w 53"/>
                <a:gd name="T9" fmla="*/ 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3">
                  <a:moveTo>
                    <a:pt x="53" y="8"/>
                  </a:moveTo>
                  <a:lnTo>
                    <a:pt x="46" y="0"/>
                  </a:lnTo>
                  <a:lnTo>
                    <a:pt x="0" y="45"/>
                  </a:lnTo>
                  <a:lnTo>
                    <a:pt x="9" y="53"/>
                  </a:lnTo>
                  <a:lnTo>
                    <a:pt x="53" y="8"/>
                  </a:lnTo>
                  <a:close/>
                </a:path>
              </a:pathLst>
            </a:custGeom>
            <a:solidFill>
              <a:srgbClr val="54C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586" y="3245415"/>
            <a:ext cx="4066459" cy="323666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6914" y="1199566"/>
            <a:ext cx="3961885" cy="528251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0246" y="2117458"/>
            <a:ext cx="3273467" cy="436462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7561941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2966" y="346482"/>
            <a:ext cx="10093690" cy="811276"/>
          </a:xfrm>
        </p:spPr>
        <p:txBody>
          <a:bodyPr>
            <a:noAutofit/>
          </a:bodyPr>
          <a:lstStyle/>
          <a:p>
            <a:pPr algn="ctr"/>
            <a:br>
              <a:rPr lang="ru-RU" sz="3600" b="1" i="1" dirty="0">
                <a:solidFill>
                  <a:srgbClr val="7030A0"/>
                </a:solidFill>
              </a:rPr>
            </a:br>
            <a:r>
              <a:rPr lang="ru-RU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 РАБОТЫ </a:t>
            </a:r>
            <a:br>
              <a:rPr lang="ru-RU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Я МОЛОДЕЖНОЙ ПОЛИТИКИ</a:t>
            </a:r>
            <a:endParaRPr lang="en-US" sz="3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1588272" y="1605727"/>
            <a:ext cx="9863064" cy="5045009"/>
            <a:chOff x="2038575" y="1620806"/>
            <a:chExt cx="9543825" cy="4495165"/>
          </a:xfrm>
        </p:grpSpPr>
        <p:sp>
          <p:nvSpPr>
            <p:cNvPr id="39" name="ShapeNameChangedByPowerUser6"/>
            <p:cNvSpPr/>
            <p:nvPr/>
          </p:nvSpPr>
          <p:spPr>
            <a:xfrm rot="10800000" flipV="1">
              <a:off x="2038913" y="4614981"/>
              <a:ext cx="1444388" cy="324276"/>
            </a:xfrm>
            <a:prstGeom prst="homePlate">
              <a:avLst>
                <a:gd name="adj" fmla="val 71158"/>
              </a:avLst>
            </a:prstGeom>
            <a:solidFill>
              <a:srgbClr val="7636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ShapeNameChangedByPowerUser5"/>
            <p:cNvSpPr/>
            <p:nvPr/>
          </p:nvSpPr>
          <p:spPr>
            <a:xfrm rot="10800000" flipV="1">
              <a:off x="2038744" y="4238563"/>
              <a:ext cx="1444388" cy="324276"/>
            </a:xfrm>
            <a:prstGeom prst="homePlate">
              <a:avLst>
                <a:gd name="adj" fmla="val 71158"/>
              </a:avLst>
            </a:prstGeom>
            <a:solidFill>
              <a:srgbClr val="9A8C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ShapeNameChangedByPowerUser4"/>
            <p:cNvSpPr/>
            <p:nvPr/>
          </p:nvSpPr>
          <p:spPr>
            <a:xfrm rot="10800000" flipV="1">
              <a:off x="2038575" y="3883411"/>
              <a:ext cx="1444388" cy="324276"/>
            </a:xfrm>
            <a:prstGeom prst="homePlate">
              <a:avLst>
                <a:gd name="adj" fmla="val 71158"/>
              </a:avLst>
            </a:prstGeom>
            <a:solidFill>
              <a:srgbClr val="6618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Pentagon 41"/>
            <p:cNvSpPr/>
            <p:nvPr/>
          </p:nvSpPr>
          <p:spPr>
            <a:xfrm>
              <a:off x="4885898" y="5406420"/>
              <a:ext cx="6696502" cy="709551"/>
            </a:xfrm>
            <a:prstGeom prst="homePlate">
              <a:avLst>
                <a:gd name="adj" fmla="val 71158"/>
              </a:avLst>
            </a:prstGeom>
            <a:solidFill>
              <a:srgbClr val="7636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>
                <a:defRPr/>
              </a:pPr>
              <a:r>
                <a:rPr lang="kk-KZ" b="1" dirty="0"/>
                <a:t>Проведение традиционных мероприятий Университета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Pentagon 42"/>
            <p:cNvSpPr/>
            <p:nvPr/>
          </p:nvSpPr>
          <p:spPr>
            <a:xfrm>
              <a:off x="4885898" y="4634282"/>
              <a:ext cx="6696502" cy="709551"/>
            </a:xfrm>
            <a:prstGeom prst="homePlate">
              <a:avLst>
                <a:gd name="adj" fmla="val 71158"/>
              </a:avLst>
            </a:prstGeom>
            <a:solidFill>
              <a:srgbClr val="9A8C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kk-KZ" b="1" dirty="0"/>
                <a:t>Пропаганда базовых ценностей Университета и </a:t>
              </a:r>
            </a:p>
            <a:p>
              <a:pPr>
                <a:defRPr/>
              </a:pPr>
              <a:r>
                <a:rPr lang="kk-KZ" b="1" dirty="0"/>
                <a:t>формирование корпоративной культуры </a:t>
              </a:r>
              <a:endParaRPr lang="ru-RU" dirty="0"/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Pentagon 43"/>
            <p:cNvSpPr/>
            <p:nvPr/>
          </p:nvSpPr>
          <p:spPr>
            <a:xfrm>
              <a:off x="4885898" y="3883410"/>
              <a:ext cx="6696502" cy="709551"/>
            </a:xfrm>
            <a:prstGeom prst="homePlate">
              <a:avLst>
                <a:gd name="adj" fmla="val 71158"/>
              </a:avLst>
            </a:prstGeom>
            <a:solidFill>
              <a:srgbClr val="6618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ru-RU" sz="2000" b="1" dirty="0"/>
                <a:t>Формирование казахстанского патриотизма</a:t>
              </a:r>
              <a:endParaRPr lang="ru-RU" sz="2000" dirty="0"/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44"/>
            <p:cNvSpPr/>
            <p:nvPr/>
          </p:nvSpPr>
          <p:spPr>
            <a:xfrm flipV="1">
              <a:off x="3502211" y="4614981"/>
              <a:ext cx="1364400" cy="1487606"/>
            </a:xfrm>
            <a:custGeom>
              <a:avLst/>
              <a:gdLst>
                <a:gd name="connsiteX0" fmla="*/ 1364776 w 1364776"/>
                <a:gd name="connsiteY0" fmla="*/ 0 h 1487606"/>
                <a:gd name="connsiteX1" fmla="*/ 1364776 w 1364776"/>
                <a:gd name="connsiteY1" fmla="*/ 709684 h 1487606"/>
                <a:gd name="connsiteX2" fmla="*/ 0 w 1364776"/>
                <a:gd name="connsiteY2" fmla="*/ 1487606 h 1487606"/>
                <a:gd name="connsiteX3" fmla="*/ 0 w 1364776"/>
                <a:gd name="connsiteY3" fmla="*/ 1160060 h 1487606"/>
                <a:gd name="connsiteX4" fmla="*/ 1364776 w 1364776"/>
                <a:gd name="connsiteY4" fmla="*/ 0 h 1487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4776" h="1487606">
                  <a:moveTo>
                    <a:pt x="1364776" y="0"/>
                  </a:moveTo>
                  <a:lnTo>
                    <a:pt x="1364776" y="709684"/>
                  </a:lnTo>
                  <a:lnTo>
                    <a:pt x="0" y="1487606"/>
                  </a:lnTo>
                  <a:lnTo>
                    <a:pt x="0" y="1160060"/>
                  </a:lnTo>
                  <a:lnTo>
                    <a:pt x="1364776" y="0"/>
                  </a:lnTo>
                  <a:close/>
                </a:path>
              </a:pathLst>
            </a:custGeom>
            <a:solidFill>
              <a:srgbClr val="7636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45"/>
            <p:cNvSpPr/>
            <p:nvPr/>
          </p:nvSpPr>
          <p:spPr>
            <a:xfrm flipV="1">
              <a:off x="3502211" y="4242221"/>
              <a:ext cx="1364400" cy="1095565"/>
            </a:xfrm>
            <a:custGeom>
              <a:avLst/>
              <a:gdLst>
                <a:gd name="connsiteX0" fmla="*/ 1351128 w 1351128"/>
                <a:gd name="connsiteY0" fmla="*/ 0 h 1105468"/>
                <a:gd name="connsiteX1" fmla="*/ 1351128 w 1351128"/>
                <a:gd name="connsiteY1" fmla="*/ 696036 h 1105468"/>
                <a:gd name="connsiteX2" fmla="*/ 0 w 1351128"/>
                <a:gd name="connsiteY2" fmla="*/ 1105468 h 1105468"/>
                <a:gd name="connsiteX3" fmla="*/ 0 w 1351128"/>
                <a:gd name="connsiteY3" fmla="*/ 777922 h 1105468"/>
                <a:gd name="connsiteX4" fmla="*/ 1351128 w 1351128"/>
                <a:gd name="connsiteY4" fmla="*/ 0 h 1105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128" h="1105468">
                  <a:moveTo>
                    <a:pt x="1351128" y="0"/>
                  </a:moveTo>
                  <a:lnTo>
                    <a:pt x="1351128" y="696036"/>
                  </a:lnTo>
                  <a:lnTo>
                    <a:pt x="0" y="1105468"/>
                  </a:lnTo>
                  <a:lnTo>
                    <a:pt x="0" y="777922"/>
                  </a:lnTo>
                  <a:lnTo>
                    <a:pt x="1351128" y="0"/>
                  </a:lnTo>
                  <a:close/>
                </a:path>
              </a:pathLst>
            </a:custGeom>
            <a:solidFill>
              <a:srgbClr val="9A8C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46"/>
            <p:cNvSpPr/>
            <p:nvPr/>
          </p:nvSpPr>
          <p:spPr>
            <a:xfrm flipV="1">
              <a:off x="3508744" y="3883410"/>
              <a:ext cx="1350335" cy="701528"/>
            </a:xfrm>
            <a:custGeom>
              <a:avLst/>
              <a:gdLst>
                <a:gd name="connsiteX0" fmla="*/ 1350335 w 1350335"/>
                <a:gd name="connsiteY0" fmla="*/ 0 h 691116"/>
                <a:gd name="connsiteX1" fmla="*/ 1350335 w 1350335"/>
                <a:gd name="connsiteY1" fmla="*/ 691116 h 691116"/>
                <a:gd name="connsiteX2" fmla="*/ 0 w 1350335"/>
                <a:gd name="connsiteY2" fmla="*/ 691116 h 691116"/>
                <a:gd name="connsiteX3" fmla="*/ 0 w 1350335"/>
                <a:gd name="connsiteY3" fmla="*/ 382772 h 691116"/>
                <a:gd name="connsiteX4" fmla="*/ 1350335 w 1350335"/>
                <a:gd name="connsiteY4" fmla="*/ 0 h 69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0335" h="691116">
                  <a:moveTo>
                    <a:pt x="1350335" y="0"/>
                  </a:moveTo>
                  <a:lnTo>
                    <a:pt x="1350335" y="691116"/>
                  </a:lnTo>
                  <a:lnTo>
                    <a:pt x="0" y="691116"/>
                  </a:lnTo>
                  <a:lnTo>
                    <a:pt x="0" y="382772"/>
                  </a:lnTo>
                  <a:lnTo>
                    <a:pt x="1350335" y="0"/>
                  </a:lnTo>
                  <a:close/>
                </a:path>
              </a:pathLst>
            </a:custGeom>
            <a:solidFill>
              <a:srgbClr val="6618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ShapeNameChangedByPowerUser6"/>
            <p:cNvSpPr/>
            <p:nvPr/>
          </p:nvSpPr>
          <p:spPr>
            <a:xfrm rot="10800000">
              <a:off x="2038913" y="2797520"/>
              <a:ext cx="1444388" cy="324276"/>
            </a:xfrm>
            <a:prstGeom prst="homePlate">
              <a:avLst>
                <a:gd name="adj" fmla="val 71158"/>
              </a:avLst>
            </a:prstGeom>
            <a:solidFill>
              <a:srgbClr val="9A8C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ShapeNameChangedByPowerUser5"/>
            <p:cNvSpPr/>
            <p:nvPr/>
          </p:nvSpPr>
          <p:spPr>
            <a:xfrm rot="10800000">
              <a:off x="2038744" y="3173938"/>
              <a:ext cx="1444388" cy="324276"/>
            </a:xfrm>
            <a:prstGeom prst="homePlate">
              <a:avLst>
                <a:gd name="adj" fmla="val 71158"/>
              </a:avLst>
            </a:prstGeom>
            <a:solidFill>
              <a:srgbClr val="963A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ShapeNameChangedByPowerUser4"/>
            <p:cNvSpPr/>
            <p:nvPr/>
          </p:nvSpPr>
          <p:spPr>
            <a:xfrm rot="10800000">
              <a:off x="2038575" y="3529090"/>
              <a:ext cx="1444388" cy="324276"/>
            </a:xfrm>
            <a:prstGeom prst="homePlate">
              <a:avLst>
                <a:gd name="adj" fmla="val 71158"/>
              </a:avLst>
            </a:prstGeom>
            <a:solidFill>
              <a:srgbClr val="7636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Pentagon 5"/>
            <p:cNvSpPr/>
            <p:nvPr/>
          </p:nvSpPr>
          <p:spPr>
            <a:xfrm>
              <a:off x="4885898" y="1620806"/>
              <a:ext cx="6696502" cy="709551"/>
            </a:xfrm>
            <a:prstGeom prst="homePlate">
              <a:avLst>
                <a:gd name="adj" fmla="val 71158"/>
              </a:avLst>
            </a:prstGeom>
            <a:solidFill>
              <a:srgbClr val="9A8C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kk-KZ" b="1" dirty="0"/>
                <a:t>Увеличение доли студентов, обеспеченных местами в общежитии </a:t>
              </a:r>
              <a:endPara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Pentagon 12"/>
            <p:cNvSpPr/>
            <p:nvPr/>
          </p:nvSpPr>
          <p:spPr>
            <a:xfrm>
              <a:off x="4885898" y="2392944"/>
              <a:ext cx="6696502" cy="709551"/>
            </a:xfrm>
            <a:prstGeom prst="homePlate">
              <a:avLst>
                <a:gd name="adj" fmla="val 71158"/>
              </a:avLst>
            </a:prstGeom>
            <a:solidFill>
              <a:srgbClr val="963A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  <a:defRPr/>
              </a:pPr>
              <a:endParaRPr lang="kk-KZ" b="1" dirty="0"/>
            </a:p>
            <a:p>
              <a:pPr>
                <a:defRPr/>
              </a:pPr>
              <a:r>
                <a:rPr lang="kk-KZ" b="1" dirty="0"/>
                <a:t>Обеспечение активного участия студентов в органах студенческого самоуправления </a:t>
              </a:r>
              <a:endParaRPr lang="ru-RU" dirty="0"/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Pentagon 13"/>
            <p:cNvSpPr/>
            <p:nvPr/>
          </p:nvSpPr>
          <p:spPr>
            <a:xfrm>
              <a:off x="4885898" y="3143816"/>
              <a:ext cx="6696502" cy="709551"/>
            </a:xfrm>
            <a:prstGeom prst="homePlate">
              <a:avLst>
                <a:gd name="adj" fmla="val 71158"/>
              </a:avLst>
            </a:prstGeom>
            <a:solidFill>
              <a:srgbClr val="7636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>
                <a:defRPr/>
              </a:pPr>
              <a:r>
                <a:rPr lang="ru-RU" b="1" dirty="0"/>
                <a:t>Создание системы обеспечения студентов </a:t>
              </a:r>
            </a:p>
            <a:p>
              <a:pPr lvl="0">
                <a:defRPr/>
              </a:pPr>
              <a:r>
                <a:rPr lang="kk-KZ" b="1" dirty="0"/>
                <a:t>психологической, </a:t>
              </a:r>
              <a:r>
                <a:rPr lang="ru-RU" b="1" dirty="0"/>
                <a:t>социальной поддержкой 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30"/>
            <p:cNvSpPr/>
            <p:nvPr/>
          </p:nvSpPr>
          <p:spPr>
            <a:xfrm>
              <a:off x="3502211" y="1634190"/>
              <a:ext cx="1364400" cy="1487606"/>
            </a:xfrm>
            <a:custGeom>
              <a:avLst/>
              <a:gdLst>
                <a:gd name="connsiteX0" fmla="*/ 1364776 w 1364776"/>
                <a:gd name="connsiteY0" fmla="*/ 0 h 1487606"/>
                <a:gd name="connsiteX1" fmla="*/ 1364776 w 1364776"/>
                <a:gd name="connsiteY1" fmla="*/ 709684 h 1487606"/>
                <a:gd name="connsiteX2" fmla="*/ 0 w 1364776"/>
                <a:gd name="connsiteY2" fmla="*/ 1487606 h 1487606"/>
                <a:gd name="connsiteX3" fmla="*/ 0 w 1364776"/>
                <a:gd name="connsiteY3" fmla="*/ 1160060 h 1487606"/>
                <a:gd name="connsiteX4" fmla="*/ 1364776 w 1364776"/>
                <a:gd name="connsiteY4" fmla="*/ 0 h 1487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4776" h="1487606">
                  <a:moveTo>
                    <a:pt x="1364776" y="0"/>
                  </a:moveTo>
                  <a:lnTo>
                    <a:pt x="1364776" y="709684"/>
                  </a:lnTo>
                  <a:lnTo>
                    <a:pt x="0" y="1487606"/>
                  </a:lnTo>
                  <a:lnTo>
                    <a:pt x="0" y="1160060"/>
                  </a:lnTo>
                  <a:lnTo>
                    <a:pt x="1364776" y="0"/>
                  </a:lnTo>
                  <a:close/>
                </a:path>
              </a:pathLst>
            </a:custGeom>
            <a:solidFill>
              <a:srgbClr val="9A8C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>
              <a:off x="3502211" y="2398991"/>
              <a:ext cx="1364400" cy="1095565"/>
            </a:xfrm>
            <a:custGeom>
              <a:avLst/>
              <a:gdLst>
                <a:gd name="connsiteX0" fmla="*/ 1351128 w 1351128"/>
                <a:gd name="connsiteY0" fmla="*/ 0 h 1105468"/>
                <a:gd name="connsiteX1" fmla="*/ 1351128 w 1351128"/>
                <a:gd name="connsiteY1" fmla="*/ 696036 h 1105468"/>
                <a:gd name="connsiteX2" fmla="*/ 0 w 1351128"/>
                <a:gd name="connsiteY2" fmla="*/ 1105468 h 1105468"/>
                <a:gd name="connsiteX3" fmla="*/ 0 w 1351128"/>
                <a:gd name="connsiteY3" fmla="*/ 777922 h 1105468"/>
                <a:gd name="connsiteX4" fmla="*/ 1351128 w 1351128"/>
                <a:gd name="connsiteY4" fmla="*/ 0 h 1105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128" h="1105468">
                  <a:moveTo>
                    <a:pt x="1351128" y="0"/>
                  </a:moveTo>
                  <a:lnTo>
                    <a:pt x="1351128" y="696036"/>
                  </a:lnTo>
                  <a:lnTo>
                    <a:pt x="0" y="1105468"/>
                  </a:lnTo>
                  <a:lnTo>
                    <a:pt x="0" y="777922"/>
                  </a:lnTo>
                  <a:lnTo>
                    <a:pt x="1351128" y="0"/>
                  </a:lnTo>
                  <a:close/>
                </a:path>
              </a:pathLst>
            </a:custGeom>
            <a:solidFill>
              <a:srgbClr val="963A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>
              <a:off x="3508744" y="3151839"/>
              <a:ext cx="1350335" cy="701528"/>
            </a:xfrm>
            <a:custGeom>
              <a:avLst/>
              <a:gdLst>
                <a:gd name="connsiteX0" fmla="*/ 1350335 w 1350335"/>
                <a:gd name="connsiteY0" fmla="*/ 0 h 691116"/>
                <a:gd name="connsiteX1" fmla="*/ 1350335 w 1350335"/>
                <a:gd name="connsiteY1" fmla="*/ 691116 h 691116"/>
                <a:gd name="connsiteX2" fmla="*/ 0 w 1350335"/>
                <a:gd name="connsiteY2" fmla="*/ 691116 h 691116"/>
                <a:gd name="connsiteX3" fmla="*/ 0 w 1350335"/>
                <a:gd name="connsiteY3" fmla="*/ 382772 h 691116"/>
                <a:gd name="connsiteX4" fmla="*/ 1350335 w 1350335"/>
                <a:gd name="connsiteY4" fmla="*/ 0 h 69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0335" h="691116">
                  <a:moveTo>
                    <a:pt x="1350335" y="0"/>
                  </a:moveTo>
                  <a:lnTo>
                    <a:pt x="1350335" y="691116"/>
                  </a:lnTo>
                  <a:lnTo>
                    <a:pt x="0" y="691116"/>
                  </a:lnTo>
                  <a:lnTo>
                    <a:pt x="0" y="382772"/>
                  </a:lnTo>
                  <a:lnTo>
                    <a:pt x="1350335" y="0"/>
                  </a:lnTo>
                  <a:close/>
                </a:path>
              </a:pathLst>
            </a:custGeom>
            <a:solidFill>
              <a:srgbClr val="7636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Oval 49"/>
            <p:cNvSpPr>
              <a:spLocks noChangeAspect="1"/>
            </p:cNvSpPr>
            <p:nvPr/>
          </p:nvSpPr>
          <p:spPr>
            <a:xfrm>
              <a:off x="10606404" y="1681693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2DA2B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51" name="Oval 50"/>
            <p:cNvSpPr>
              <a:spLocks noChangeAspect="1"/>
            </p:cNvSpPr>
            <p:nvPr/>
          </p:nvSpPr>
          <p:spPr>
            <a:xfrm>
              <a:off x="10606404" y="2463833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DA1F2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52" name="Oval 51"/>
            <p:cNvSpPr>
              <a:spLocks noChangeAspect="1"/>
            </p:cNvSpPr>
            <p:nvPr/>
          </p:nvSpPr>
          <p:spPr>
            <a:xfrm>
              <a:off x="10606404" y="3215056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EB641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53" name="Oval 52"/>
            <p:cNvSpPr>
              <a:spLocks noChangeAspect="1"/>
            </p:cNvSpPr>
            <p:nvPr/>
          </p:nvSpPr>
          <p:spPr>
            <a:xfrm>
              <a:off x="10606404" y="3958335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39639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54" name="Oval 53"/>
            <p:cNvSpPr>
              <a:spLocks noChangeAspect="1"/>
            </p:cNvSpPr>
            <p:nvPr/>
          </p:nvSpPr>
          <p:spPr>
            <a:xfrm>
              <a:off x="10606404" y="4705171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74B7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55" name="Oval 54"/>
            <p:cNvSpPr>
              <a:spLocks noChangeAspect="1"/>
            </p:cNvSpPr>
            <p:nvPr/>
          </p:nvSpPr>
          <p:spPr>
            <a:xfrm>
              <a:off x="10606404" y="5477309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0" i="0" u="none" strike="noStrike" kern="0" cap="none" spc="0" normalizeH="0" baseline="0" noProof="0" dirty="0">
                  <a:ln>
                    <a:noFill/>
                  </a:ln>
                  <a:solidFill>
                    <a:srgbClr val="464646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</a:t>
              </a:r>
            </a:p>
          </p:txBody>
        </p:sp>
      </p:grpSp>
      <p:sp>
        <p:nvSpPr>
          <p:cNvPr id="4" name="ShapeNameChangedByPowerUser1"/>
          <p:cNvSpPr>
            <a:spLocks noChangeAspect="1"/>
          </p:cNvSpPr>
          <p:nvPr/>
        </p:nvSpPr>
        <p:spPr>
          <a:xfrm>
            <a:off x="422838" y="3093885"/>
            <a:ext cx="1960098" cy="1960098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2" name="Clipboard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05661" y="3022368"/>
            <a:ext cx="2110955" cy="2110955"/>
            <a:chOff x="1857376" y="3248025"/>
            <a:chExt cx="354013" cy="354013"/>
          </a:xfrm>
        </p:grpSpPr>
        <p:sp>
          <p:nvSpPr>
            <p:cNvPr id="63" name="Oval 294"/>
            <p:cNvSpPr>
              <a:spLocks noChangeArrowheads="1"/>
            </p:cNvSpPr>
            <p:nvPr/>
          </p:nvSpPr>
          <p:spPr bwMode="auto">
            <a:xfrm>
              <a:off x="1857376" y="3248025"/>
              <a:ext cx="354013" cy="354013"/>
            </a:xfrm>
            <a:prstGeom prst="ellipse">
              <a:avLst/>
            </a:prstGeom>
            <a:solidFill>
              <a:srgbClr val="7DB6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295"/>
            <p:cNvSpPr>
              <a:spLocks/>
            </p:cNvSpPr>
            <p:nvPr/>
          </p:nvSpPr>
          <p:spPr bwMode="auto">
            <a:xfrm>
              <a:off x="1924051" y="3348038"/>
              <a:ext cx="220663" cy="198438"/>
            </a:xfrm>
            <a:custGeom>
              <a:avLst/>
              <a:gdLst>
                <a:gd name="T0" fmla="*/ 600 w 666"/>
                <a:gd name="T1" fmla="*/ 600 h 600"/>
                <a:gd name="T2" fmla="*/ 66 w 666"/>
                <a:gd name="T3" fmla="*/ 600 h 600"/>
                <a:gd name="T4" fmla="*/ 0 w 666"/>
                <a:gd name="T5" fmla="*/ 533 h 600"/>
                <a:gd name="T6" fmla="*/ 0 w 666"/>
                <a:gd name="T7" fmla="*/ 92 h 600"/>
                <a:gd name="T8" fmla="*/ 0 w 666"/>
                <a:gd name="T9" fmla="*/ 0 h 600"/>
                <a:gd name="T10" fmla="*/ 0 w 666"/>
                <a:gd name="T11" fmla="*/ 0 h 600"/>
                <a:gd name="T12" fmla="*/ 0 w 666"/>
                <a:gd name="T13" fmla="*/ 58 h 600"/>
                <a:gd name="T14" fmla="*/ 0 w 666"/>
                <a:gd name="T15" fmla="*/ 500 h 600"/>
                <a:gd name="T16" fmla="*/ 66 w 666"/>
                <a:gd name="T17" fmla="*/ 567 h 600"/>
                <a:gd name="T18" fmla="*/ 600 w 666"/>
                <a:gd name="T19" fmla="*/ 567 h 600"/>
                <a:gd name="T20" fmla="*/ 666 w 666"/>
                <a:gd name="T21" fmla="*/ 500 h 600"/>
                <a:gd name="T22" fmla="*/ 666 w 666"/>
                <a:gd name="T23" fmla="*/ 533 h 600"/>
                <a:gd name="T24" fmla="*/ 600 w 666"/>
                <a:gd name="T25" fmla="*/ 60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6" h="600">
                  <a:moveTo>
                    <a:pt x="600" y="600"/>
                  </a:moveTo>
                  <a:lnTo>
                    <a:pt x="66" y="600"/>
                  </a:lnTo>
                  <a:cubicBezTo>
                    <a:pt x="30" y="600"/>
                    <a:pt x="0" y="570"/>
                    <a:pt x="0" y="533"/>
                  </a:cubicBezTo>
                  <a:lnTo>
                    <a:pt x="0" y="9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58"/>
                  </a:lnTo>
                  <a:lnTo>
                    <a:pt x="0" y="500"/>
                  </a:lnTo>
                  <a:cubicBezTo>
                    <a:pt x="0" y="537"/>
                    <a:pt x="30" y="567"/>
                    <a:pt x="66" y="567"/>
                  </a:cubicBezTo>
                  <a:lnTo>
                    <a:pt x="600" y="567"/>
                  </a:lnTo>
                  <a:cubicBezTo>
                    <a:pt x="637" y="567"/>
                    <a:pt x="666" y="537"/>
                    <a:pt x="666" y="500"/>
                  </a:cubicBezTo>
                  <a:lnTo>
                    <a:pt x="666" y="533"/>
                  </a:lnTo>
                  <a:cubicBezTo>
                    <a:pt x="666" y="570"/>
                    <a:pt x="637" y="600"/>
                    <a:pt x="600" y="600"/>
                  </a:cubicBezTo>
                  <a:close/>
                </a:path>
              </a:pathLst>
            </a:custGeom>
            <a:solidFill>
              <a:srgbClr val="6594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296"/>
            <p:cNvSpPr>
              <a:spLocks/>
            </p:cNvSpPr>
            <p:nvPr/>
          </p:nvSpPr>
          <p:spPr bwMode="auto">
            <a:xfrm>
              <a:off x="1924051" y="3314700"/>
              <a:ext cx="220663" cy="220663"/>
            </a:xfrm>
            <a:custGeom>
              <a:avLst/>
              <a:gdLst>
                <a:gd name="T0" fmla="*/ 600 w 666"/>
                <a:gd name="T1" fmla="*/ 0 h 667"/>
                <a:gd name="T2" fmla="*/ 66 w 666"/>
                <a:gd name="T3" fmla="*/ 0 h 667"/>
                <a:gd name="T4" fmla="*/ 0 w 666"/>
                <a:gd name="T5" fmla="*/ 67 h 667"/>
                <a:gd name="T6" fmla="*/ 0 w 666"/>
                <a:gd name="T7" fmla="*/ 158 h 667"/>
                <a:gd name="T8" fmla="*/ 0 w 666"/>
                <a:gd name="T9" fmla="*/ 600 h 667"/>
                <a:gd name="T10" fmla="*/ 66 w 666"/>
                <a:gd name="T11" fmla="*/ 667 h 667"/>
                <a:gd name="T12" fmla="*/ 600 w 666"/>
                <a:gd name="T13" fmla="*/ 667 h 667"/>
                <a:gd name="T14" fmla="*/ 666 w 666"/>
                <a:gd name="T15" fmla="*/ 600 h 667"/>
                <a:gd name="T16" fmla="*/ 666 w 666"/>
                <a:gd name="T17" fmla="*/ 158 h 667"/>
                <a:gd name="T18" fmla="*/ 666 w 666"/>
                <a:gd name="T19" fmla="*/ 67 h 667"/>
                <a:gd name="T20" fmla="*/ 600 w 666"/>
                <a:gd name="T21" fmla="*/ 0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6" h="667">
                  <a:moveTo>
                    <a:pt x="600" y="0"/>
                  </a:moveTo>
                  <a:lnTo>
                    <a:pt x="66" y="0"/>
                  </a:lnTo>
                  <a:cubicBezTo>
                    <a:pt x="30" y="0"/>
                    <a:pt x="0" y="30"/>
                    <a:pt x="0" y="67"/>
                  </a:cubicBezTo>
                  <a:lnTo>
                    <a:pt x="0" y="158"/>
                  </a:lnTo>
                  <a:lnTo>
                    <a:pt x="0" y="600"/>
                  </a:lnTo>
                  <a:cubicBezTo>
                    <a:pt x="0" y="637"/>
                    <a:pt x="30" y="667"/>
                    <a:pt x="66" y="667"/>
                  </a:cubicBezTo>
                  <a:lnTo>
                    <a:pt x="600" y="667"/>
                  </a:lnTo>
                  <a:cubicBezTo>
                    <a:pt x="637" y="667"/>
                    <a:pt x="666" y="637"/>
                    <a:pt x="666" y="600"/>
                  </a:cubicBezTo>
                  <a:lnTo>
                    <a:pt x="666" y="158"/>
                  </a:lnTo>
                  <a:lnTo>
                    <a:pt x="666" y="67"/>
                  </a:lnTo>
                  <a:cubicBezTo>
                    <a:pt x="666" y="30"/>
                    <a:pt x="637" y="0"/>
                    <a:pt x="600" y="0"/>
                  </a:cubicBezTo>
                  <a:close/>
                </a:path>
              </a:pathLst>
            </a:custGeom>
            <a:solidFill>
              <a:srgbClr val="E08E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297"/>
            <p:cNvSpPr>
              <a:spLocks/>
            </p:cNvSpPr>
            <p:nvPr/>
          </p:nvSpPr>
          <p:spPr bwMode="auto">
            <a:xfrm>
              <a:off x="1946276" y="3348038"/>
              <a:ext cx="176213" cy="176213"/>
            </a:xfrm>
            <a:custGeom>
              <a:avLst/>
              <a:gdLst>
                <a:gd name="T0" fmla="*/ 111 w 111"/>
                <a:gd name="T1" fmla="*/ 111 h 111"/>
                <a:gd name="T2" fmla="*/ 0 w 111"/>
                <a:gd name="T3" fmla="*/ 111 h 111"/>
                <a:gd name="T4" fmla="*/ 0 w 111"/>
                <a:gd name="T5" fmla="*/ 0 h 111"/>
                <a:gd name="T6" fmla="*/ 0 w 111"/>
                <a:gd name="T7" fmla="*/ 104 h 111"/>
                <a:gd name="T8" fmla="*/ 111 w 111"/>
                <a:gd name="T9" fmla="*/ 104 h 111"/>
                <a:gd name="T10" fmla="*/ 111 w 111"/>
                <a:gd name="T11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1" h="111">
                  <a:moveTo>
                    <a:pt x="111" y="111"/>
                  </a:moveTo>
                  <a:lnTo>
                    <a:pt x="0" y="111"/>
                  </a:lnTo>
                  <a:lnTo>
                    <a:pt x="0" y="0"/>
                  </a:lnTo>
                  <a:lnTo>
                    <a:pt x="0" y="104"/>
                  </a:lnTo>
                  <a:lnTo>
                    <a:pt x="111" y="104"/>
                  </a:lnTo>
                  <a:lnTo>
                    <a:pt x="111" y="111"/>
                  </a:lnTo>
                  <a:close/>
                </a:path>
              </a:pathLst>
            </a:custGeom>
            <a:solidFill>
              <a:srgbClr val="B77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Rectangle 298"/>
            <p:cNvSpPr>
              <a:spLocks noChangeArrowheads="1"/>
            </p:cNvSpPr>
            <p:nvPr/>
          </p:nvSpPr>
          <p:spPr bwMode="auto">
            <a:xfrm>
              <a:off x="1946276" y="3336925"/>
              <a:ext cx="176213" cy="1762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Rectangle 299"/>
            <p:cNvSpPr>
              <a:spLocks noChangeArrowheads="1"/>
            </p:cNvSpPr>
            <p:nvPr/>
          </p:nvSpPr>
          <p:spPr bwMode="auto">
            <a:xfrm>
              <a:off x="1978026" y="3379788"/>
              <a:ext cx="111125" cy="11113"/>
            </a:xfrm>
            <a:prstGeom prst="rect">
              <a:avLst/>
            </a:pr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Rectangle 300"/>
            <p:cNvSpPr>
              <a:spLocks noChangeArrowheads="1"/>
            </p:cNvSpPr>
            <p:nvPr/>
          </p:nvSpPr>
          <p:spPr bwMode="auto">
            <a:xfrm>
              <a:off x="1978026" y="3402013"/>
              <a:ext cx="111125" cy="11113"/>
            </a:xfrm>
            <a:prstGeom prst="rect">
              <a:avLst/>
            </a:pr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Rectangle 301"/>
            <p:cNvSpPr>
              <a:spLocks noChangeArrowheads="1"/>
            </p:cNvSpPr>
            <p:nvPr/>
          </p:nvSpPr>
          <p:spPr bwMode="auto">
            <a:xfrm>
              <a:off x="1978026" y="3424238"/>
              <a:ext cx="111125" cy="11113"/>
            </a:xfrm>
            <a:prstGeom prst="rect">
              <a:avLst/>
            </a:pr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Rectangle 302"/>
            <p:cNvSpPr>
              <a:spLocks noChangeArrowheads="1"/>
            </p:cNvSpPr>
            <p:nvPr/>
          </p:nvSpPr>
          <p:spPr bwMode="auto">
            <a:xfrm>
              <a:off x="1978026" y="3446463"/>
              <a:ext cx="111125" cy="11113"/>
            </a:xfrm>
            <a:prstGeom prst="rect">
              <a:avLst/>
            </a:pr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Rectangle 303"/>
            <p:cNvSpPr>
              <a:spLocks noChangeArrowheads="1"/>
            </p:cNvSpPr>
            <p:nvPr/>
          </p:nvSpPr>
          <p:spPr bwMode="auto">
            <a:xfrm>
              <a:off x="1978026" y="3468688"/>
              <a:ext cx="111125" cy="11113"/>
            </a:xfrm>
            <a:prstGeom prst="rect">
              <a:avLst/>
            </a:pr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304"/>
            <p:cNvSpPr>
              <a:spLocks/>
            </p:cNvSpPr>
            <p:nvPr/>
          </p:nvSpPr>
          <p:spPr bwMode="auto">
            <a:xfrm>
              <a:off x="1990726" y="3314700"/>
              <a:ext cx="87313" cy="22225"/>
            </a:xfrm>
            <a:custGeom>
              <a:avLst/>
              <a:gdLst>
                <a:gd name="T0" fmla="*/ 55 w 55"/>
                <a:gd name="T1" fmla="*/ 14 h 14"/>
                <a:gd name="T2" fmla="*/ 0 w 55"/>
                <a:gd name="T3" fmla="*/ 14 h 14"/>
                <a:gd name="T4" fmla="*/ 0 w 55"/>
                <a:gd name="T5" fmla="*/ 0 h 14"/>
                <a:gd name="T6" fmla="*/ 55 w 55"/>
                <a:gd name="T7" fmla="*/ 0 h 14"/>
                <a:gd name="T8" fmla="*/ 55 w 55"/>
                <a:gd name="T9" fmla="*/ 10 h 14"/>
                <a:gd name="T10" fmla="*/ 55 w 5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14">
                  <a:moveTo>
                    <a:pt x="55" y="14"/>
                  </a:moveTo>
                  <a:lnTo>
                    <a:pt x="0" y="14"/>
                  </a:lnTo>
                  <a:lnTo>
                    <a:pt x="0" y="0"/>
                  </a:lnTo>
                  <a:lnTo>
                    <a:pt x="55" y="0"/>
                  </a:lnTo>
                  <a:lnTo>
                    <a:pt x="55" y="10"/>
                  </a:lnTo>
                  <a:lnTo>
                    <a:pt x="55" y="14"/>
                  </a:lnTo>
                  <a:close/>
                </a:path>
              </a:pathLst>
            </a:custGeom>
            <a:solidFill>
              <a:srgbClr val="B77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305"/>
            <p:cNvSpPr>
              <a:spLocks/>
            </p:cNvSpPr>
            <p:nvPr/>
          </p:nvSpPr>
          <p:spPr bwMode="auto">
            <a:xfrm>
              <a:off x="1990726" y="3336925"/>
              <a:ext cx="87313" cy="22225"/>
            </a:xfrm>
            <a:custGeom>
              <a:avLst/>
              <a:gdLst>
                <a:gd name="T0" fmla="*/ 216 w 266"/>
                <a:gd name="T1" fmla="*/ 66 h 66"/>
                <a:gd name="T2" fmla="*/ 50 w 266"/>
                <a:gd name="T3" fmla="*/ 66 h 66"/>
                <a:gd name="T4" fmla="*/ 0 w 266"/>
                <a:gd name="T5" fmla="*/ 16 h 66"/>
                <a:gd name="T6" fmla="*/ 0 w 266"/>
                <a:gd name="T7" fmla="*/ 0 h 66"/>
                <a:gd name="T8" fmla="*/ 266 w 266"/>
                <a:gd name="T9" fmla="*/ 0 h 66"/>
                <a:gd name="T10" fmla="*/ 266 w 266"/>
                <a:gd name="T11" fmla="*/ 16 h 66"/>
                <a:gd name="T12" fmla="*/ 216 w 2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66">
                  <a:moveTo>
                    <a:pt x="216" y="66"/>
                  </a:moveTo>
                  <a:lnTo>
                    <a:pt x="50" y="66"/>
                  </a:lnTo>
                  <a:cubicBezTo>
                    <a:pt x="22" y="66"/>
                    <a:pt x="0" y="44"/>
                    <a:pt x="0" y="16"/>
                  </a:cubicBezTo>
                  <a:lnTo>
                    <a:pt x="0" y="0"/>
                  </a:lnTo>
                  <a:lnTo>
                    <a:pt x="266" y="0"/>
                  </a:lnTo>
                  <a:lnTo>
                    <a:pt x="266" y="16"/>
                  </a:lnTo>
                  <a:cubicBezTo>
                    <a:pt x="266" y="44"/>
                    <a:pt x="244" y="66"/>
                    <a:pt x="216" y="66"/>
                  </a:cubicBezTo>
                  <a:close/>
                </a:path>
              </a:pathLst>
            </a:custGeom>
            <a:solidFill>
              <a:srgbClr val="D4D3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306"/>
            <p:cNvSpPr>
              <a:spLocks/>
            </p:cNvSpPr>
            <p:nvPr/>
          </p:nvSpPr>
          <p:spPr bwMode="auto">
            <a:xfrm>
              <a:off x="1990726" y="3303588"/>
              <a:ext cx="87313" cy="44450"/>
            </a:xfrm>
            <a:custGeom>
              <a:avLst/>
              <a:gdLst>
                <a:gd name="T0" fmla="*/ 216 w 266"/>
                <a:gd name="T1" fmla="*/ 0 h 133"/>
                <a:gd name="T2" fmla="*/ 0 w 266"/>
                <a:gd name="T3" fmla="*/ 0 h 133"/>
                <a:gd name="T4" fmla="*/ 0 w 266"/>
                <a:gd name="T5" fmla="*/ 83 h 133"/>
                <a:gd name="T6" fmla="*/ 50 w 266"/>
                <a:gd name="T7" fmla="*/ 133 h 133"/>
                <a:gd name="T8" fmla="*/ 216 w 266"/>
                <a:gd name="T9" fmla="*/ 133 h 133"/>
                <a:gd name="T10" fmla="*/ 266 w 266"/>
                <a:gd name="T11" fmla="*/ 83 h 133"/>
                <a:gd name="T12" fmla="*/ 266 w 266"/>
                <a:gd name="T13" fmla="*/ 66 h 133"/>
                <a:gd name="T14" fmla="*/ 266 w 266"/>
                <a:gd name="T15" fmla="*/ 50 h 133"/>
                <a:gd name="T16" fmla="*/ 266 w 266"/>
                <a:gd name="T17" fmla="*/ 0 h 133"/>
                <a:gd name="T18" fmla="*/ 216 w 266"/>
                <a:gd name="T19" fmla="*/ 0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6" h="133">
                  <a:moveTo>
                    <a:pt x="216" y="0"/>
                  </a:moveTo>
                  <a:lnTo>
                    <a:pt x="0" y="0"/>
                  </a:lnTo>
                  <a:lnTo>
                    <a:pt x="0" y="83"/>
                  </a:lnTo>
                  <a:cubicBezTo>
                    <a:pt x="0" y="111"/>
                    <a:pt x="22" y="133"/>
                    <a:pt x="50" y="133"/>
                  </a:cubicBezTo>
                  <a:lnTo>
                    <a:pt x="216" y="133"/>
                  </a:lnTo>
                  <a:cubicBezTo>
                    <a:pt x="244" y="133"/>
                    <a:pt x="266" y="111"/>
                    <a:pt x="266" y="83"/>
                  </a:cubicBezTo>
                  <a:lnTo>
                    <a:pt x="266" y="66"/>
                  </a:lnTo>
                  <a:lnTo>
                    <a:pt x="266" y="50"/>
                  </a:lnTo>
                  <a:lnTo>
                    <a:pt x="266" y="0"/>
                  </a:lnTo>
                  <a:lnTo>
                    <a:pt x="216" y="0"/>
                  </a:lnTo>
                  <a:close/>
                </a:path>
              </a:pathLst>
            </a:custGeom>
            <a:solidFill>
              <a:srgbClr val="4956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811172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just">
              <a:buNone/>
            </a:pP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96792" y="5498493"/>
            <a:ext cx="107647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dirty="0">
                <a:solidFill>
                  <a:srgbClr val="00B0F0"/>
                </a:solidFill>
                <a:ea typeface="Calibri" panose="020F0502020204030204" pitchFamily="34" charset="0"/>
              </a:rPr>
              <a:t>За период 2020-2021 учебного года было проведено </a:t>
            </a:r>
            <a:r>
              <a:rPr lang="ru-RU" sz="2400" b="1" i="1" dirty="0">
                <a:solidFill>
                  <a:schemeClr val="bg1"/>
                </a:solidFill>
                <a:ea typeface="Calibri" panose="020F0502020204030204" pitchFamily="34" charset="0"/>
              </a:rPr>
              <a:t>4 заседания совета кураторов </a:t>
            </a:r>
            <a:r>
              <a:rPr lang="ru-RU" sz="2400" dirty="0">
                <a:solidFill>
                  <a:srgbClr val="00B0F0"/>
                </a:solidFill>
                <a:ea typeface="Calibri" panose="020F0502020204030204" pitchFamily="34" charset="0"/>
              </a:rPr>
              <a:t>по вопросам планирования воспитательной работы.</a:t>
            </a:r>
            <a:endParaRPr lang="ru-RU" sz="2400" dirty="0">
              <a:solidFill>
                <a:srgbClr val="00B0F0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4641681"/>
              </p:ext>
            </p:extLst>
          </p:nvPr>
        </p:nvGraphicFramePr>
        <p:xfrm>
          <a:off x="431947" y="1436026"/>
          <a:ext cx="11180934" cy="391616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254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431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66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44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86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1261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9258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№ 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Наименование школ 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Количество кафедр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Количество кураторов академических групп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Количество эдвайзеров академических групп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Общее количество 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79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1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Школа общей медицины № 1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13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23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51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74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79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2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Школа общей медицины № 2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30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-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73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73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79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3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Школа фармаци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5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23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59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82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79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4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Школа педиатрии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4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8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22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30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79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5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Школа стоматологи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5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8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47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55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79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6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Школа общественного здравоохранения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9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3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12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15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79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7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Международный факультет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-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2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15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17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A8C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79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Всего: 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66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67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>
                          <a:effectLst/>
                        </a:rPr>
                        <a:t>279</a:t>
                      </a:r>
                      <a:endParaRPr lang="ru-RU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>
                          <a:effectLst/>
                        </a:rPr>
                        <a:t>346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1103376" y="585878"/>
            <a:ext cx="9616992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kk-KZ" altLang="ru-RU" sz="32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нформация о количестве кураторов и эдвайзеров</a:t>
            </a:r>
            <a:endParaRPr kumimoji="0" lang="kk-KZ" altLang="ru-RU" sz="3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7928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kk-KZ" b="1" dirty="0">
                <a:solidFill>
                  <a:srgbClr val="00B0F0"/>
                </a:solidFill>
              </a:rPr>
              <a:t>Проект решения:</a:t>
            </a:r>
            <a:br>
              <a:rPr lang="ru-RU" dirty="0">
                <a:solidFill>
                  <a:schemeClr val="accent5"/>
                </a:solidFill>
              </a:rPr>
            </a:br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  <a:p>
            <a:pPr algn="ctr"/>
            <a:r>
              <a:rPr lang="kk-KZ" dirty="0">
                <a:solidFill>
                  <a:schemeClr val="bg1"/>
                </a:solidFill>
              </a:rPr>
              <a:t>Отчет по социально-воспитательной работе КазНМУ имени С.Д.Асфендиярова за 2020-2021 учебный год считать удовлетворительным и утвердить.</a:t>
            </a:r>
            <a:endParaRPr lang="ru-RU" dirty="0">
              <a:solidFill>
                <a:schemeClr val="bg1"/>
              </a:solidFill>
            </a:endParaRPr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29646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172916" y="2210364"/>
            <a:ext cx="984616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60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Благодарю за внимание!!!</a:t>
            </a:r>
          </a:p>
        </p:txBody>
      </p:sp>
    </p:spTree>
    <p:extLst>
      <p:ext uri="{BB962C8B-B14F-4D97-AF65-F5344CB8AC3E}">
        <p14:creationId xmlns:p14="http://schemas.microsoft.com/office/powerpoint/2010/main" val="21473602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 РАБОТЫ </a:t>
            </a:r>
            <a:br>
              <a:rPr lang="ru-RU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Я МОЛОДЕЖНОЙ ПОЛИТИКИ (2)</a:t>
            </a:r>
            <a:br>
              <a:rPr lang="ru-RU" sz="3600" b="1" i="1" dirty="0">
                <a:solidFill>
                  <a:srgbClr val="7030A0"/>
                </a:solidFill>
              </a:rPr>
            </a:br>
            <a:endParaRPr lang="en-US" sz="3600" b="1" i="1" dirty="0">
              <a:solidFill>
                <a:srgbClr val="7030A0"/>
              </a:solidFill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1261873" y="1536192"/>
            <a:ext cx="10256520" cy="4762659"/>
            <a:chOff x="2038575" y="1620806"/>
            <a:chExt cx="9543825" cy="4495165"/>
          </a:xfrm>
        </p:grpSpPr>
        <p:sp>
          <p:nvSpPr>
            <p:cNvPr id="39" name="ShapeNameChangedByPowerUser6"/>
            <p:cNvSpPr/>
            <p:nvPr/>
          </p:nvSpPr>
          <p:spPr>
            <a:xfrm rot="10800000" flipV="1">
              <a:off x="2038913" y="4614981"/>
              <a:ext cx="1444388" cy="324276"/>
            </a:xfrm>
            <a:prstGeom prst="homePlate">
              <a:avLst>
                <a:gd name="adj" fmla="val 71158"/>
              </a:avLst>
            </a:prstGeom>
            <a:solidFill>
              <a:srgbClr val="591D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ShapeNameChangedByPowerUser5"/>
            <p:cNvSpPr/>
            <p:nvPr/>
          </p:nvSpPr>
          <p:spPr>
            <a:xfrm rot="10800000" flipV="1">
              <a:off x="2038744" y="4238563"/>
              <a:ext cx="1444388" cy="324276"/>
            </a:xfrm>
            <a:prstGeom prst="homePlate">
              <a:avLst>
                <a:gd name="adj" fmla="val 71158"/>
              </a:avLst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ShapeNameChangedByPowerUser4"/>
            <p:cNvSpPr/>
            <p:nvPr/>
          </p:nvSpPr>
          <p:spPr>
            <a:xfrm rot="10800000" flipV="1">
              <a:off x="2038575" y="3883411"/>
              <a:ext cx="1444388" cy="324276"/>
            </a:xfrm>
            <a:prstGeom prst="homePlate">
              <a:avLst>
                <a:gd name="adj" fmla="val 71158"/>
              </a:avLst>
            </a:prstGeom>
            <a:solidFill>
              <a:srgbClr val="6618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Pentagon 41"/>
            <p:cNvSpPr/>
            <p:nvPr/>
          </p:nvSpPr>
          <p:spPr>
            <a:xfrm>
              <a:off x="4885898" y="5406420"/>
              <a:ext cx="6696502" cy="709551"/>
            </a:xfrm>
            <a:prstGeom prst="homePlate">
              <a:avLst>
                <a:gd name="adj" fmla="val 71158"/>
              </a:avLst>
            </a:prstGeom>
            <a:solidFill>
              <a:srgbClr val="591D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endParaRPr lang="ru-RU" sz="2000" dirty="0"/>
            </a:p>
            <a:p>
              <a:pPr>
                <a:defRPr/>
              </a:pPr>
              <a:r>
                <a:rPr lang="ru-RU" b="1" dirty="0"/>
                <a:t>  Работа с кураторами и наставниками</a:t>
              </a:r>
              <a:endParaRPr lang="en-US" b="1" kern="0" dirty="0">
                <a:solidFill>
                  <a:prstClr val="white"/>
                </a:solidFill>
              </a:endParaRPr>
            </a:p>
            <a:p>
              <a:pPr lvl="0">
                <a:defRPr/>
              </a:pPr>
              <a:endParaRPr kumimoji="0" lang="en-US" sz="20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3" name="Pentagon 42"/>
            <p:cNvSpPr/>
            <p:nvPr/>
          </p:nvSpPr>
          <p:spPr>
            <a:xfrm>
              <a:off x="4885898" y="4634282"/>
              <a:ext cx="6696502" cy="709551"/>
            </a:xfrm>
            <a:prstGeom prst="homePlate">
              <a:avLst>
                <a:gd name="adj" fmla="val 71158"/>
              </a:avLst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>
                <a:defRPr/>
              </a:pPr>
              <a:endParaRPr kumimoji="0" lang="en-US" sz="200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4" name="Pentagon 43"/>
            <p:cNvSpPr/>
            <p:nvPr/>
          </p:nvSpPr>
          <p:spPr>
            <a:xfrm>
              <a:off x="4885898" y="3883410"/>
              <a:ext cx="6696502" cy="709551"/>
            </a:xfrm>
            <a:prstGeom prst="homePlate">
              <a:avLst>
                <a:gd name="adj" fmla="val 71158"/>
              </a:avLst>
            </a:prstGeom>
            <a:solidFill>
              <a:srgbClr val="6618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>
                <a:defRPr/>
              </a:pPr>
              <a:r>
                <a:rPr lang="kk-KZ" b="1" dirty="0"/>
                <a:t>Формирование антикоррупционной культуры</a:t>
              </a: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45" name="Freeform 44"/>
            <p:cNvSpPr/>
            <p:nvPr/>
          </p:nvSpPr>
          <p:spPr>
            <a:xfrm flipV="1">
              <a:off x="3502211" y="4614981"/>
              <a:ext cx="1364400" cy="1487606"/>
            </a:xfrm>
            <a:custGeom>
              <a:avLst/>
              <a:gdLst>
                <a:gd name="connsiteX0" fmla="*/ 1364776 w 1364776"/>
                <a:gd name="connsiteY0" fmla="*/ 0 h 1487606"/>
                <a:gd name="connsiteX1" fmla="*/ 1364776 w 1364776"/>
                <a:gd name="connsiteY1" fmla="*/ 709684 h 1487606"/>
                <a:gd name="connsiteX2" fmla="*/ 0 w 1364776"/>
                <a:gd name="connsiteY2" fmla="*/ 1487606 h 1487606"/>
                <a:gd name="connsiteX3" fmla="*/ 0 w 1364776"/>
                <a:gd name="connsiteY3" fmla="*/ 1160060 h 1487606"/>
                <a:gd name="connsiteX4" fmla="*/ 1364776 w 1364776"/>
                <a:gd name="connsiteY4" fmla="*/ 0 h 1487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4776" h="1487606">
                  <a:moveTo>
                    <a:pt x="1364776" y="0"/>
                  </a:moveTo>
                  <a:lnTo>
                    <a:pt x="1364776" y="709684"/>
                  </a:lnTo>
                  <a:lnTo>
                    <a:pt x="0" y="1487606"/>
                  </a:lnTo>
                  <a:lnTo>
                    <a:pt x="0" y="1160060"/>
                  </a:lnTo>
                  <a:lnTo>
                    <a:pt x="1364776" y="0"/>
                  </a:lnTo>
                  <a:close/>
                </a:path>
              </a:pathLst>
            </a:custGeom>
            <a:solidFill>
              <a:srgbClr val="591D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45"/>
            <p:cNvSpPr/>
            <p:nvPr/>
          </p:nvSpPr>
          <p:spPr>
            <a:xfrm flipV="1">
              <a:off x="3502211" y="4242221"/>
              <a:ext cx="1364400" cy="1095565"/>
            </a:xfrm>
            <a:custGeom>
              <a:avLst/>
              <a:gdLst>
                <a:gd name="connsiteX0" fmla="*/ 1351128 w 1351128"/>
                <a:gd name="connsiteY0" fmla="*/ 0 h 1105468"/>
                <a:gd name="connsiteX1" fmla="*/ 1351128 w 1351128"/>
                <a:gd name="connsiteY1" fmla="*/ 696036 h 1105468"/>
                <a:gd name="connsiteX2" fmla="*/ 0 w 1351128"/>
                <a:gd name="connsiteY2" fmla="*/ 1105468 h 1105468"/>
                <a:gd name="connsiteX3" fmla="*/ 0 w 1351128"/>
                <a:gd name="connsiteY3" fmla="*/ 777922 h 1105468"/>
                <a:gd name="connsiteX4" fmla="*/ 1351128 w 1351128"/>
                <a:gd name="connsiteY4" fmla="*/ 0 h 1105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128" h="1105468">
                  <a:moveTo>
                    <a:pt x="1351128" y="0"/>
                  </a:moveTo>
                  <a:lnTo>
                    <a:pt x="1351128" y="696036"/>
                  </a:lnTo>
                  <a:lnTo>
                    <a:pt x="0" y="1105468"/>
                  </a:lnTo>
                  <a:lnTo>
                    <a:pt x="0" y="777922"/>
                  </a:lnTo>
                  <a:lnTo>
                    <a:pt x="1351128" y="0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46"/>
            <p:cNvSpPr/>
            <p:nvPr/>
          </p:nvSpPr>
          <p:spPr>
            <a:xfrm flipV="1">
              <a:off x="3508744" y="3883410"/>
              <a:ext cx="1350335" cy="701528"/>
            </a:xfrm>
            <a:custGeom>
              <a:avLst/>
              <a:gdLst>
                <a:gd name="connsiteX0" fmla="*/ 1350335 w 1350335"/>
                <a:gd name="connsiteY0" fmla="*/ 0 h 691116"/>
                <a:gd name="connsiteX1" fmla="*/ 1350335 w 1350335"/>
                <a:gd name="connsiteY1" fmla="*/ 691116 h 691116"/>
                <a:gd name="connsiteX2" fmla="*/ 0 w 1350335"/>
                <a:gd name="connsiteY2" fmla="*/ 691116 h 691116"/>
                <a:gd name="connsiteX3" fmla="*/ 0 w 1350335"/>
                <a:gd name="connsiteY3" fmla="*/ 382772 h 691116"/>
                <a:gd name="connsiteX4" fmla="*/ 1350335 w 1350335"/>
                <a:gd name="connsiteY4" fmla="*/ 0 h 69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0335" h="691116">
                  <a:moveTo>
                    <a:pt x="1350335" y="0"/>
                  </a:moveTo>
                  <a:lnTo>
                    <a:pt x="1350335" y="691116"/>
                  </a:lnTo>
                  <a:lnTo>
                    <a:pt x="0" y="691116"/>
                  </a:lnTo>
                  <a:lnTo>
                    <a:pt x="0" y="382772"/>
                  </a:lnTo>
                  <a:lnTo>
                    <a:pt x="1350335" y="0"/>
                  </a:lnTo>
                  <a:close/>
                </a:path>
              </a:pathLst>
            </a:custGeom>
            <a:solidFill>
              <a:srgbClr val="66186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ShapeNameChangedByPowerUser6"/>
            <p:cNvSpPr/>
            <p:nvPr/>
          </p:nvSpPr>
          <p:spPr>
            <a:xfrm rot="10800000">
              <a:off x="2038913" y="2797520"/>
              <a:ext cx="1444388" cy="324276"/>
            </a:xfrm>
            <a:prstGeom prst="homePlate">
              <a:avLst>
                <a:gd name="adj" fmla="val 71158"/>
              </a:avLst>
            </a:prstGeom>
            <a:solidFill>
              <a:srgbClr val="7636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ShapeNameChangedByPowerUser5"/>
            <p:cNvSpPr/>
            <p:nvPr/>
          </p:nvSpPr>
          <p:spPr>
            <a:xfrm rot="10800000">
              <a:off x="2038744" y="3173938"/>
              <a:ext cx="1444388" cy="324276"/>
            </a:xfrm>
            <a:prstGeom prst="homePlate">
              <a:avLst>
                <a:gd name="adj" fmla="val 71158"/>
              </a:avLst>
            </a:prstGeom>
            <a:solidFill>
              <a:srgbClr val="9A8C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ShapeNameChangedByPowerUser4"/>
            <p:cNvSpPr/>
            <p:nvPr/>
          </p:nvSpPr>
          <p:spPr>
            <a:xfrm rot="10800000">
              <a:off x="2038575" y="3529090"/>
              <a:ext cx="1444388" cy="324276"/>
            </a:xfrm>
            <a:prstGeom prst="homePlate">
              <a:avLst>
                <a:gd name="adj" fmla="val 71158"/>
              </a:avLst>
            </a:prstGeom>
            <a:solidFill>
              <a:srgbClr val="963A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Pentagon 5"/>
            <p:cNvSpPr/>
            <p:nvPr/>
          </p:nvSpPr>
          <p:spPr>
            <a:xfrm>
              <a:off x="4885898" y="1620806"/>
              <a:ext cx="6696502" cy="709551"/>
            </a:xfrm>
            <a:prstGeom prst="homePlate">
              <a:avLst>
                <a:gd name="adj" fmla="val 71158"/>
              </a:avLst>
            </a:prstGeom>
            <a:solidFill>
              <a:srgbClr val="7636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just">
                <a:defRPr/>
              </a:pPr>
              <a:r>
                <a:rPr lang="ru-RU" b="1" kern="0" dirty="0">
                  <a:solidFill>
                    <a:prstClr val="white"/>
                  </a:solidFill>
                </a:rPr>
                <a:t>Развитие здорового образа жизни и </a:t>
              </a:r>
            </a:p>
            <a:p>
              <a:pPr lvl="0" algn="just">
                <a:defRPr/>
              </a:pPr>
              <a:r>
                <a:rPr lang="ru-RU" b="1" kern="0" dirty="0">
                  <a:solidFill>
                    <a:prstClr val="white"/>
                  </a:solidFill>
                </a:rPr>
                <a:t>массового спорта </a:t>
              </a: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3" name="Pentagon 12"/>
            <p:cNvSpPr/>
            <p:nvPr/>
          </p:nvSpPr>
          <p:spPr>
            <a:xfrm>
              <a:off x="4885898" y="2392944"/>
              <a:ext cx="6696502" cy="709551"/>
            </a:xfrm>
            <a:prstGeom prst="homePlate">
              <a:avLst>
                <a:gd name="adj" fmla="val 71158"/>
              </a:avLst>
            </a:prstGeom>
            <a:solidFill>
              <a:srgbClr val="9A8C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>
                <a:defRPr/>
              </a:pPr>
              <a:r>
                <a:rPr lang="ru-RU" b="1" kern="0" dirty="0">
                  <a:solidFill>
                    <a:prstClr val="white"/>
                  </a:solidFill>
                </a:rPr>
                <a:t>Мероприятия по профилактике асоциального поведения</a:t>
              </a:r>
            </a:p>
            <a:p>
              <a:pPr lvl="0">
                <a:defRPr/>
              </a:pPr>
              <a:r>
                <a:rPr lang="ru-RU" b="1" kern="0" dirty="0">
                  <a:solidFill>
                    <a:prstClr val="white"/>
                  </a:solidFill>
                </a:rPr>
                <a:t>среди молодежи</a:t>
              </a: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4" name="Pentagon 13"/>
            <p:cNvSpPr/>
            <p:nvPr/>
          </p:nvSpPr>
          <p:spPr>
            <a:xfrm>
              <a:off x="4885898" y="3143816"/>
              <a:ext cx="6696502" cy="709551"/>
            </a:xfrm>
            <a:prstGeom prst="homePlate">
              <a:avLst>
                <a:gd name="adj" fmla="val 71158"/>
              </a:avLst>
            </a:prstGeom>
            <a:solidFill>
              <a:srgbClr val="963A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endParaRPr lang="kk-KZ" sz="2000" dirty="0"/>
            </a:p>
            <a:p>
              <a:pPr>
                <a:defRPr/>
              </a:pPr>
              <a:r>
                <a:rPr lang="kk-KZ" b="1" dirty="0"/>
                <a:t>Противодействие идеям религиозного </a:t>
              </a:r>
            </a:p>
            <a:p>
              <a:pPr>
                <a:defRPr/>
              </a:pPr>
              <a:r>
                <a:rPr lang="kk-KZ" b="1" dirty="0"/>
                <a:t>экстремизма и терроризма</a:t>
              </a:r>
              <a:endParaRPr lang="ru-RU" b="1" dirty="0"/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30"/>
            <p:cNvSpPr/>
            <p:nvPr/>
          </p:nvSpPr>
          <p:spPr>
            <a:xfrm>
              <a:off x="3502211" y="1634190"/>
              <a:ext cx="1364400" cy="1487606"/>
            </a:xfrm>
            <a:custGeom>
              <a:avLst/>
              <a:gdLst>
                <a:gd name="connsiteX0" fmla="*/ 1364776 w 1364776"/>
                <a:gd name="connsiteY0" fmla="*/ 0 h 1487606"/>
                <a:gd name="connsiteX1" fmla="*/ 1364776 w 1364776"/>
                <a:gd name="connsiteY1" fmla="*/ 709684 h 1487606"/>
                <a:gd name="connsiteX2" fmla="*/ 0 w 1364776"/>
                <a:gd name="connsiteY2" fmla="*/ 1487606 h 1487606"/>
                <a:gd name="connsiteX3" fmla="*/ 0 w 1364776"/>
                <a:gd name="connsiteY3" fmla="*/ 1160060 h 1487606"/>
                <a:gd name="connsiteX4" fmla="*/ 1364776 w 1364776"/>
                <a:gd name="connsiteY4" fmla="*/ 0 h 1487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64776" h="1487606">
                  <a:moveTo>
                    <a:pt x="1364776" y="0"/>
                  </a:moveTo>
                  <a:lnTo>
                    <a:pt x="1364776" y="709684"/>
                  </a:lnTo>
                  <a:lnTo>
                    <a:pt x="0" y="1487606"/>
                  </a:lnTo>
                  <a:lnTo>
                    <a:pt x="0" y="1160060"/>
                  </a:lnTo>
                  <a:lnTo>
                    <a:pt x="1364776" y="0"/>
                  </a:lnTo>
                  <a:close/>
                </a:path>
              </a:pathLst>
            </a:custGeom>
            <a:solidFill>
              <a:srgbClr val="76369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>
              <a:off x="3502211" y="2398991"/>
              <a:ext cx="1364400" cy="1095565"/>
            </a:xfrm>
            <a:custGeom>
              <a:avLst/>
              <a:gdLst>
                <a:gd name="connsiteX0" fmla="*/ 1351128 w 1351128"/>
                <a:gd name="connsiteY0" fmla="*/ 0 h 1105468"/>
                <a:gd name="connsiteX1" fmla="*/ 1351128 w 1351128"/>
                <a:gd name="connsiteY1" fmla="*/ 696036 h 1105468"/>
                <a:gd name="connsiteX2" fmla="*/ 0 w 1351128"/>
                <a:gd name="connsiteY2" fmla="*/ 1105468 h 1105468"/>
                <a:gd name="connsiteX3" fmla="*/ 0 w 1351128"/>
                <a:gd name="connsiteY3" fmla="*/ 777922 h 1105468"/>
                <a:gd name="connsiteX4" fmla="*/ 1351128 w 1351128"/>
                <a:gd name="connsiteY4" fmla="*/ 0 h 1105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1128" h="1105468">
                  <a:moveTo>
                    <a:pt x="1351128" y="0"/>
                  </a:moveTo>
                  <a:lnTo>
                    <a:pt x="1351128" y="696036"/>
                  </a:lnTo>
                  <a:lnTo>
                    <a:pt x="0" y="1105468"/>
                  </a:lnTo>
                  <a:lnTo>
                    <a:pt x="0" y="777922"/>
                  </a:lnTo>
                  <a:lnTo>
                    <a:pt x="1351128" y="0"/>
                  </a:lnTo>
                  <a:close/>
                </a:path>
              </a:pathLst>
            </a:custGeom>
            <a:solidFill>
              <a:srgbClr val="9A8C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>
              <a:off x="3508744" y="3151839"/>
              <a:ext cx="1350335" cy="701528"/>
            </a:xfrm>
            <a:custGeom>
              <a:avLst/>
              <a:gdLst>
                <a:gd name="connsiteX0" fmla="*/ 1350335 w 1350335"/>
                <a:gd name="connsiteY0" fmla="*/ 0 h 691116"/>
                <a:gd name="connsiteX1" fmla="*/ 1350335 w 1350335"/>
                <a:gd name="connsiteY1" fmla="*/ 691116 h 691116"/>
                <a:gd name="connsiteX2" fmla="*/ 0 w 1350335"/>
                <a:gd name="connsiteY2" fmla="*/ 691116 h 691116"/>
                <a:gd name="connsiteX3" fmla="*/ 0 w 1350335"/>
                <a:gd name="connsiteY3" fmla="*/ 382772 h 691116"/>
                <a:gd name="connsiteX4" fmla="*/ 1350335 w 1350335"/>
                <a:gd name="connsiteY4" fmla="*/ 0 h 691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50335" h="691116">
                  <a:moveTo>
                    <a:pt x="1350335" y="0"/>
                  </a:moveTo>
                  <a:lnTo>
                    <a:pt x="1350335" y="691116"/>
                  </a:lnTo>
                  <a:lnTo>
                    <a:pt x="0" y="691116"/>
                  </a:lnTo>
                  <a:lnTo>
                    <a:pt x="0" y="382772"/>
                  </a:lnTo>
                  <a:lnTo>
                    <a:pt x="1350335" y="0"/>
                  </a:lnTo>
                  <a:close/>
                </a:path>
              </a:pathLst>
            </a:custGeom>
            <a:solidFill>
              <a:srgbClr val="963A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Oval 49"/>
            <p:cNvSpPr>
              <a:spLocks noChangeAspect="1"/>
            </p:cNvSpPr>
            <p:nvPr/>
          </p:nvSpPr>
          <p:spPr>
            <a:xfrm>
              <a:off x="10606404" y="1681693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4000" kern="0" dirty="0">
                  <a:solidFill>
                    <a:srgbClr val="2DA2BF"/>
                  </a:solidFill>
                  <a:latin typeface="Calibri"/>
                </a:rPr>
                <a:t>7</a:t>
              </a:r>
              <a:endPara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Oval 50"/>
            <p:cNvSpPr>
              <a:spLocks noChangeAspect="1"/>
            </p:cNvSpPr>
            <p:nvPr/>
          </p:nvSpPr>
          <p:spPr>
            <a:xfrm>
              <a:off x="10606404" y="2463833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4000" kern="0" dirty="0">
                  <a:solidFill>
                    <a:srgbClr val="DA1F28"/>
                  </a:solidFill>
                  <a:latin typeface="Calibri"/>
                </a:rPr>
                <a:t>8</a:t>
              </a:r>
              <a:endPara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DA1F28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Oval 51"/>
            <p:cNvSpPr>
              <a:spLocks noChangeAspect="1"/>
            </p:cNvSpPr>
            <p:nvPr/>
          </p:nvSpPr>
          <p:spPr>
            <a:xfrm>
              <a:off x="10606404" y="3215056"/>
              <a:ext cx="567771" cy="56777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4000" kern="0" dirty="0">
                  <a:solidFill>
                    <a:srgbClr val="EB641B"/>
                  </a:solidFill>
                  <a:latin typeface="Calibri"/>
                </a:rPr>
                <a:t>9</a:t>
              </a:r>
              <a:endPara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EB641B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Oval 52"/>
            <p:cNvSpPr>
              <a:spLocks noChangeAspect="1"/>
            </p:cNvSpPr>
            <p:nvPr/>
          </p:nvSpPr>
          <p:spPr>
            <a:xfrm>
              <a:off x="10526818" y="3883410"/>
              <a:ext cx="726941" cy="64269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400" kern="0" dirty="0">
                  <a:solidFill>
                    <a:srgbClr val="39639D"/>
                  </a:solidFill>
                  <a:latin typeface="Calibri"/>
                </a:rPr>
                <a:t>10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39639D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4" name="Oval 53"/>
            <p:cNvSpPr>
              <a:spLocks noChangeAspect="1"/>
            </p:cNvSpPr>
            <p:nvPr/>
          </p:nvSpPr>
          <p:spPr>
            <a:xfrm>
              <a:off x="10516590" y="4556149"/>
              <a:ext cx="747396" cy="78768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400" kern="0" dirty="0">
                  <a:solidFill>
                    <a:srgbClr val="474B78"/>
                  </a:solidFill>
                  <a:latin typeface="Calibri"/>
                </a:rPr>
                <a:t>11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474B78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5" name="Oval 54"/>
            <p:cNvSpPr>
              <a:spLocks noChangeAspect="1"/>
            </p:cNvSpPr>
            <p:nvPr/>
          </p:nvSpPr>
          <p:spPr>
            <a:xfrm>
              <a:off x="10516590" y="5401565"/>
              <a:ext cx="699654" cy="6996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400" kern="0" dirty="0">
                  <a:solidFill>
                    <a:srgbClr val="464646"/>
                  </a:solidFill>
                  <a:latin typeface="Calibri"/>
                </a:rPr>
                <a:t>12</a:t>
              </a: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4" name="ShapeNameChangedByPowerUser1"/>
          <p:cNvSpPr>
            <a:spLocks noChangeAspect="1"/>
          </p:cNvSpPr>
          <p:nvPr/>
        </p:nvSpPr>
        <p:spPr>
          <a:xfrm>
            <a:off x="590290" y="2924847"/>
            <a:ext cx="2106470" cy="210647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2" name="Toolbox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446802" y="2782929"/>
            <a:ext cx="2262764" cy="2272957"/>
            <a:chOff x="1393826" y="3711575"/>
            <a:chExt cx="352425" cy="354013"/>
          </a:xfrm>
        </p:grpSpPr>
        <p:sp>
          <p:nvSpPr>
            <p:cNvPr id="33" name="Oval 378"/>
            <p:cNvSpPr>
              <a:spLocks noChangeArrowheads="1"/>
            </p:cNvSpPr>
            <p:nvPr/>
          </p:nvSpPr>
          <p:spPr bwMode="auto">
            <a:xfrm>
              <a:off x="1393826" y="3711575"/>
              <a:ext cx="352425" cy="354013"/>
            </a:xfrm>
            <a:prstGeom prst="ellipse">
              <a:avLst/>
            </a:pr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379"/>
            <p:cNvSpPr>
              <a:spLocks/>
            </p:cNvSpPr>
            <p:nvPr/>
          </p:nvSpPr>
          <p:spPr bwMode="auto">
            <a:xfrm>
              <a:off x="1458913" y="3833813"/>
              <a:ext cx="222250" cy="142875"/>
            </a:xfrm>
            <a:custGeom>
              <a:avLst/>
              <a:gdLst>
                <a:gd name="T0" fmla="*/ 600 w 666"/>
                <a:gd name="T1" fmla="*/ 433 h 433"/>
                <a:gd name="T2" fmla="*/ 66 w 666"/>
                <a:gd name="T3" fmla="*/ 433 h 433"/>
                <a:gd name="T4" fmla="*/ 0 w 666"/>
                <a:gd name="T5" fmla="*/ 366 h 433"/>
                <a:gd name="T6" fmla="*/ 0 w 666"/>
                <a:gd name="T7" fmla="*/ 66 h 433"/>
                <a:gd name="T8" fmla="*/ 66 w 666"/>
                <a:gd name="T9" fmla="*/ 0 h 433"/>
                <a:gd name="T10" fmla="*/ 166 w 666"/>
                <a:gd name="T11" fmla="*/ 0 h 433"/>
                <a:gd name="T12" fmla="*/ 66 w 666"/>
                <a:gd name="T13" fmla="*/ 0 h 433"/>
                <a:gd name="T14" fmla="*/ 0 w 666"/>
                <a:gd name="T15" fmla="*/ 66 h 433"/>
                <a:gd name="T16" fmla="*/ 0 w 666"/>
                <a:gd name="T17" fmla="*/ 116 h 433"/>
                <a:gd name="T18" fmla="*/ 0 w 666"/>
                <a:gd name="T19" fmla="*/ 333 h 433"/>
                <a:gd name="T20" fmla="*/ 66 w 666"/>
                <a:gd name="T21" fmla="*/ 400 h 433"/>
                <a:gd name="T22" fmla="*/ 600 w 666"/>
                <a:gd name="T23" fmla="*/ 400 h 433"/>
                <a:gd name="T24" fmla="*/ 666 w 666"/>
                <a:gd name="T25" fmla="*/ 333 h 433"/>
                <a:gd name="T26" fmla="*/ 666 w 666"/>
                <a:gd name="T27" fmla="*/ 366 h 433"/>
                <a:gd name="T28" fmla="*/ 600 w 666"/>
                <a:gd name="T29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6" h="433">
                  <a:moveTo>
                    <a:pt x="600" y="433"/>
                  </a:moveTo>
                  <a:lnTo>
                    <a:pt x="66" y="433"/>
                  </a:lnTo>
                  <a:cubicBezTo>
                    <a:pt x="30" y="433"/>
                    <a:pt x="0" y="403"/>
                    <a:pt x="0" y="366"/>
                  </a:cubicBezTo>
                  <a:lnTo>
                    <a:pt x="0" y="66"/>
                  </a:lnTo>
                  <a:cubicBezTo>
                    <a:pt x="0" y="30"/>
                    <a:pt x="30" y="0"/>
                    <a:pt x="66" y="0"/>
                  </a:cubicBezTo>
                  <a:lnTo>
                    <a:pt x="166" y="0"/>
                  </a:lnTo>
                  <a:lnTo>
                    <a:pt x="66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116"/>
                  </a:lnTo>
                  <a:lnTo>
                    <a:pt x="0" y="333"/>
                  </a:lnTo>
                  <a:cubicBezTo>
                    <a:pt x="0" y="370"/>
                    <a:pt x="30" y="400"/>
                    <a:pt x="66" y="400"/>
                  </a:cubicBezTo>
                  <a:lnTo>
                    <a:pt x="600" y="400"/>
                  </a:lnTo>
                  <a:cubicBezTo>
                    <a:pt x="637" y="400"/>
                    <a:pt x="666" y="370"/>
                    <a:pt x="666" y="333"/>
                  </a:cubicBezTo>
                  <a:lnTo>
                    <a:pt x="666" y="366"/>
                  </a:lnTo>
                  <a:cubicBezTo>
                    <a:pt x="666" y="403"/>
                    <a:pt x="637" y="433"/>
                    <a:pt x="600" y="433"/>
                  </a:cubicBezTo>
                  <a:close/>
                </a:path>
              </a:pathLst>
            </a:custGeom>
            <a:solidFill>
              <a:srgbClr val="B7B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380"/>
            <p:cNvSpPr>
              <a:spLocks noEditPoints="1"/>
            </p:cNvSpPr>
            <p:nvPr/>
          </p:nvSpPr>
          <p:spPr bwMode="auto">
            <a:xfrm>
              <a:off x="1514476" y="3784600"/>
              <a:ext cx="111125" cy="153988"/>
            </a:xfrm>
            <a:custGeom>
              <a:avLst/>
              <a:gdLst>
                <a:gd name="T0" fmla="*/ 267 w 334"/>
                <a:gd name="T1" fmla="*/ 0 h 466"/>
                <a:gd name="T2" fmla="*/ 67 w 334"/>
                <a:gd name="T3" fmla="*/ 0 h 466"/>
                <a:gd name="T4" fmla="*/ 0 w 334"/>
                <a:gd name="T5" fmla="*/ 66 h 466"/>
                <a:gd name="T6" fmla="*/ 0 w 334"/>
                <a:gd name="T7" fmla="*/ 400 h 466"/>
                <a:gd name="T8" fmla="*/ 67 w 334"/>
                <a:gd name="T9" fmla="*/ 466 h 466"/>
                <a:gd name="T10" fmla="*/ 267 w 334"/>
                <a:gd name="T11" fmla="*/ 466 h 466"/>
                <a:gd name="T12" fmla="*/ 334 w 334"/>
                <a:gd name="T13" fmla="*/ 400 h 466"/>
                <a:gd name="T14" fmla="*/ 334 w 334"/>
                <a:gd name="T15" fmla="*/ 66 h 466"/>
                <a:gd name="T16" fmla="*/ 267 w 334"/>
                <a:gd name="T17" fmla="*/ 0 h 466"/>
                <a:gd name="T18" fmla="*/ 267 w 334"/>
                <a:gd name="T19" fmla="*/ 66 h 466"/>
                <a:gd name="T20" fmla="*/ 267 w 334"/>
                <a:gd name="T21" fmla="*/ 400 h 466"/>
                <a:gd name="T22" fmla="*/ 67 w 334"/>
                <a:gd name="T23" fmla="*/ 400 h 466"/>
                <a:gd name="T24" fmla="*/ 67 w 334"/>
                <a:gd name="T25" fmla="*/ 66 h 466"/>
                <a:gd name="T26" fmla="*/ 267 w 334"/>
                <a:gd name="T27" fmla="*/ 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4" h="466">
                  <a:moveTo>
                    <a:pt x="267" y="0"/>
                  </a:move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400"/>
                  </a:lnTo>
                  <a:cubicBezTo>
                    <a:pt x="0" y="436"/>
                    <a:pt x="30" y="466"/>
                    <a:pt x="67" y="466"/>
                  </a:cubicBezTo>
                  <a:lnTo>
                    <a:pt x="267" y="466"/>
                  </a:lnTo>
                  <a:cubicBezTo>
                    <a:pt x="304" y="466"/>
                    <a:pt x="334" y="436"/>
                    <a:pt x="334" y="400"/>
                  </a:cubicBezTo>
                  <a:lnTo>
                    <a:pt x="334" y="66"/>
                  </a:lnTo>
                  <a:cubicBezTo>
                    <a:pt x="334" y="30"/>
                    <a:pt x="304" y="0"/>
                    <a:pt x="267" y="0"/>
                  </a:cubicBezTo>
                  <a:close/>
                  <a:moveTo>
                    <a:pt x="267" y="66"/>
                  </a:moveTo>
                  <a:lnTo>
                    <a:pt x="267" y="400"/>
                  </a:lnTo>
                  <a:lnTo>
                    <a:pt x="67" y="400"/>
                  </a:lnTo>
                  <a:lnTo>
                    <a:pt x="67" y="66"/>
                  </a:lnTo>
                  <a:lnTo>
                    <a:pt x="267" y="66"/>
                  </a:lnTo>
                  <a:close/>
                </a:path>
              </a:pathLst>
            </a:custGeom>
            <a:solidFill>
              <a:srgbClr val="4956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381"/>
            <p:cNvSpPr>
              <a:spLocks/>
            </p:cNvSpPr>
            <p:nvPr/>
          </p:nvSpPr>
          <p:spPr bwMode="auto">
            <a:xfrm>
              <a:off x="1458913" y="3871913"/>
              <a:ext cx="222250" cy="93663"/>
            </a:xfrm>
            <a:custGeom>
              <a:avLst/>
              <a:gdLst>
                <a:gd name="T0" fmla="*/ 0 w 666"/>
                <a:gd name="T1" fmla="*/ 0 h 284"/>
                <a:gd name="T2" fmla="*/ 0 w 666"/>
                <a:gd name="T3" fmla="*/ 217 h 284"/>
                <a:gd name="T4" fmla="*/ 66 w 666"/>
                <a:gd name="T5" fmla="*/ 284 h 284"/>
                <a:gd name="T6" fmla="*/ 600 w 666"/>
                <a:gd name="T7" fmla="*/ 284 h 284"/>
                <a:gd name="T8" fmla="*/ 666 w 666"/>
                <a:gd name="T9" fmla="*/ 217 h 284"/>
                <a:gd name="T10" fmla="*/ 666 w 666"/>
                <a:gd name="T11" fmla="*/ 0 h 284"/>
                <a:gd name="T12" fmla="*/ 0 w 666"/>
                <a:gd name="T13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6" h="284">
                  <a:moveTo>
                    <a:pt x="0" y="0"/>
                  </a:moveTo>
                  <a:lnTo>
                    <a:pt x="0" y="217"/>
                  </a:lnTo>
                  <a:cubicBezTo>
                    <a:pt x="0" y="254"/>
                    <a:pt x="30" y="284"/>
                    <a:pt x="66" y="284"/>
                  </a:cubicBezTo>
                  <a:lnTo>
                    <a:pt x="600" y="284"/>
                  </a:lnTo>
                  <a:cubicBezTo>
                    <a:pt x="637" y="284"/>
                    <a:pt x="666" y="254"/>
                    <a:pt x="666" y="217"/>
                  </a:cubicBezTo>
                  <a:lnTo>
                    <a:pt x="66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847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382"/>
            <p:cNvSpPr>
              <a:spLocks noEditPoints="1"/>
            </p:cNvSpPr>
            <p:nvPr/>
          </p:nvSpPr>
          <p:spPr bwMode="auto">
            <a:xfrm>
              <a:off x="1525588" y="3844925"/>
              <a:ext cx="88900" cy="60325"/>
            </a:xfrm>
            <a:custGeom>
              <a:avLst/>
              <a:gdLst>
                <a:gd name="T0" fmla="*/ 200 w 266"/>
                <a:gd name="T1" fmla="*/ 0 h 183"/>
                <a:gd name="T2" fmla="*/ 66 w 266"/>
                <a:gd name="T3" fmla="*/ 0 h 183"/>
                <a:gd name="T4" fmla="*/ 0 w 266"/>
                <a:gd name="T5" fmla="*/ 67 h 183"/>
                <a:gd name="T6" fmla="*/ 0 w 266"/>
                <a:gd name="T7" fmla="*/ 117 h 183"/>
                <a:gd name="T8" fmla="*/ 66 w 266"/>
                <a:gd name="T9" fmla="*/ 183 h 183"/>
                <a:gd name="T10" fmla="*/ 200 w 266"/>
                <a:gd name="T11" fmla="*/ 183 h 183"/>
                <a:gd name="T12" fmla="*/ 266 w 266"/>
                <a:gd name="T13" fmla="*/ 117 h 183"/>
                <a:gd name="T14" fmla="*/ 266 w 266"/>
                <a:gd name="T15" fmla="*/ 67 h 183"/>
                <a:gd name="T16" fmla="*/ 200 w 266"/>
                <a:gd name="T17" fmla="*/ 0 h 183"/>
                <a:gd name="T18" fmla="*/ 200 w 266"/>
                <a:gd name="T19" fmla="*/ 67 h 183"/>
                <a:gd name="T20" fmla="*/ 200 w 266"/>
                <a:gd name="T21" fmla="*/ 117 h 183"/>
                <a:gd name="T22" fmla="*/ 66 w 266"/>
                <a:gd name="T23" fmla="*/ 117 h 183"/>
                <a:gd name="T24" fmla="*/ 66 w 266"/>
                <a:gd name="T25" fmla="*/ 67 h 183"/>
                <a:gd name="T26" fmla="*/ 200 w 266"/>
                <a:gd name="T27" fmla="*/ 67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6" h="183">
                  <a:moveTo>
                    <a:pt x="200" y="0"/>
                  </a:moveTo>
                  <a:lnTo>
                    <a:pt x="66" y="0"/>
                  </a:lnTo>
                  <a:cubicBezTo>
                    <a:pt x="30" y="0"/>
                    <a:pt x="0" y="30"/>
                    <a:pt x="0" y="67"/>
                  </a:cubicBezTo>
                  <a:lnTo>
                    <a:pt x="0" y="117"/>
                  </a:lnTo>
                  <a:cubicBezTo>
                    <a:pt x="0" y="153"/>
                    <a:pt x="30" y="183"/>
                    <a:pt x="66" y="183"/>
                  </a:cubicBezTo>
                  <a:lnTo>
                    <a:pt x="200" y="183"/>
                  </a:lnTo>
                  <a:cubicBezTo>
                    <a:pt x="237" y="183"/>
                    <a:pt x="266" y="153"/>
                    <a:pt x="266" y="117"/>
                  </a:cubicBezTo>
                  <a:lnTo>
                    <a:pt x="266" y="67"/>
                  </a:lnTo>
                  <a:cubicBezTo>
                    <a:pt x="266" y="30"/>
                    <a:pt x="237" y="0"/>
                    <a:pt x="200" y="0"/>
                  </a:cubicBezTo>
                  <a:close/>
                  <a:moveTo>
                    <a:pt x="200" y="67"/>
                  </a:moveTo>
                  <a:lnTo>
                    <a:pt x="200" y="117"/>
                  </a:lnTo>
                  <a:lnTo>
                    <a:pt x="66" y="117"/>
                  </a:lnTo>
                  <a:lnTo>
                    <a:pt x="66" y="67"/>
                  </a:lnTo>
                  <a:lnTo>
                    <a:pt x="200" y="67"/>
                  </a:lnTo>
                  <a:close/>
                </a:path>
              </a:pathLst>
            </a:custGeom>
            <a:solidFill>
              <a:srgbClr val="F3C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383"/>
            <p:cNvSpPr>
              <a:spLocks noEditPoints="1"/>
            </p:cNvSpPr>
            <p:nvPr/>
          </p:nvSpPr>
          <p:spPr bwMode="auto">
            <a:xfrm>
              <a:off x="1458913" y="3833813"/>
              <a:ext cx="222250" cy="38100"/>
            </a:xfrm>
            <a:custGeom>
              <a:avLst/>
              <a:gdLst>
                <a:gd name="T0" fmla="*/ 666 w 666"/>
                <a:gd name="T1" fmla="*/ 116 h 116"/>
                <a:gd name="T2" fmla="*/ 500 w 666"/>
                <a:gd name="T3" fmla="*/ 116 h 116"/>
                <a:gd name="T4" fmla="*/ 500 w 666"/>
                <a:gd name="T5" fmla="*/ 0 h 116"/>
                <a:gd name="T6" fmla="*/ 600 w 666"/>
                <a:gd name="T7" fmla="*/ 0 h 116"/>
                <a:gd name="T8" fmla="*/ 666 w 666"/>
                <a:gd name="T9" fmla="*/ 66 h 116"/>
                <a:gd name="T10" fmla="*/ 666 w 666"/>
                <a:gd name="T11" fmla="*/ 116 h 116"/>
                <a:gd name="T12" fmla="*/ 166 w 666"/>
                <a:gd name="T13" fmla="*/ 116 h 116"/>
                <a:gd name="T14" fmla="*/ 0 w 666"/>
                <a:gd name="T15" fmla="*/ 116 h 116"/>
                <a:gd name="T16" fmla="*/ 0 w 666"/>
                <a:gd name="T17" fmla="*/ 66 h 116"/>
                <a:gd name="T18" fmla="*/ 66 w 666"/>
                <a:gd name="T19" fmla="*/ 0 h 116"/>
                <a:gd name="T20" fmla="*/ 166 w 666"/>
                <a:gd name="T21" fmla="*/ 0 h 116"/>
                <a:gd name="T22" fmla="*/ 166 w 666"/>
                <a:gd name="T23" fmla="*/ 116 h 116"/>
                <a:gd name="T24" fmla="*/ 433 w 666"/>
                <a:gd name="T25" fmla="*/ 42 h 116"/>
                <a:gd name="T26" fmla="*/ 400 w 666"/>
                <a:gd name="T27" fmla="*/ 33 h 116"/>
                <a:gd name="T28" fmla="*/ 266 w 666"/>
                <a:gd name="T29" fmla="*/ 33 h 116"/>
                <a:gd name="T30" fmla="*/ 233 w 666"/>
                <a:gd name="T31" fmla="*/ 42 h 116"/>
                <a:gd name="T32" fmla="*/ 233 w 666"/>
                <a:gd name="T33" fmla="*/ 0 h 116"/>
                <a:gd name="T34" fmla="*/ 433 w 666"/>
                <a:gd name="T35" fmla="*/ 0 h 116"/>
                <a:gd name="T36" fmla="*/ 433 w 666"/>
                <a:gd name="T37" fmla="*/ 4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6" h="116">
                  <a:moveTo>
                    <a:pt x="666" y="116"/>
                  </a:moveTo>
                  <a:lnTo>
                    <a:pt x="500" y="116"/>
                  </a:lnTo>
                  <a:lnTo>
                    <a:pt x="500" y="0"/>
                  </a:lnTo>
                  <a:lnTo>
                    <a:pt x="600" y="0"/>
                  </a:lnTo>
                  <a:cubicBezTo>
                    <a:pt x="637" y="0"/>
                    <a:pt x="666" y="30"/>
                    <a:pt x="666" y="66"/>
                  </a:cubicBezTo>
                  <a:lnTo>
                    <a:pt x="666" y="116"/>
                  </a:lnTo>
                  <a:close/>
                  <a:moveTo>
                    <a:pt x="166" y="116"/>
                  </a:moveTo>
                  <a:lnTo>
                    <a:pt x="0" y="116"/>
                  </a:lnTo>
                  <a:lnTo>
                    <a:pt x="0" y="66"/>
                  </a:lnTo>
                  <a:cubicBezTo>
                    <a:pt x="0" y="30"/>
                    <a:pt x="30" y="0"/>
                    <a:pt x="66" y="0"/>
                  </a:cubicBezTo>
                  <a:lnTo>
                    <a:pt x="166" y="0"/>
                  </a:lnTo>
                  <a:lnTo>
                    <a:pt x="166" y="116"/>
                  </a:lnTo>
                  <a:close/>
                  <a:moveTo>
                    <a:pt x="433" y="42"/>
                  </a:moveTo>
                  <a:cubicBezTo>
                    <a:pt x="423" y="36"/>
                    <a:pt x="412" y="33"/>
                    <a:pt x="400" y="33"/>
                  </a:cubicBezTo>
                  <a:lnTo>
                    <a:pt x="266" y="33"/>
                  </a:lnTo>
                  <a:cubicBezTo>
                    <a:pt x="254" y="33"/>
                    <a:pt x="243" y="36"/>
                    <a:pt x="233" y="42"/>
                  </a:cubicBezTo>
                  <a:lnTo>
                    <a:pt x="233" y="0"/>
                  </a:lnTo>
                  <a:lnTo>
                    <a:pt x="433" y="0"/>
                  </a:lnTo>
                  <a:lnTo>
                    <a:pt x="433" y="42"/>
                  </a:lnTo>
                  <a:close/>
                </a:path>
              </a:pathLst>
            </a:custGeom>
            <a:solidFill>
              <a:srgbClr val="9797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384"/>
            <p:cNvSpPr>
              <a:spLocks noEditPoints="1"/>
            </p:cNvSpPr>
            <p:nvPr/>
          </p:nvSpPr>
          <p:spPr bwMode="auto">
            <a:xfrm>
              <a:off x="1514476" y="3833813"/>
              <a:ext cx="111125" cy="38100"/>
            </a:xfrm>
            <a:custGeom>
              <a:avLst/>
              <a:gdLst>
                <a:gd name="T0" fmla="*/ 334 w 334"/>
                <a:gd name="T1" fmla="*/ 116 h 116"/>
                <a:gd name="T2" fmla="*/ 300 w 334"/>
                <a:gd name="T3" fmla="*/ 116 h 116"/>
                <a:gd name="T4" fmla="*/ 300 w 334"/>
                <a:gd name="T5" fmla="*/ 100 h 116"/>
                <a:gd name="T6" fmla="*/ 267 w 334"/>
                <a:gd name="T7" fmla="*/ 42 h 116"/>
                <a:gd name="T8" fmla="*/ 267 w 334"/>
                <a:gd name="T9" fmla="*/ 0 h 116"/>
                <a:gd name="T10" fmla="*/ 334 w 334"/>
                <a:gd name="T11" fmla="*/ 0 h 116"/>
                <a:gd name="T12" fmla="*/ 334 w 334"/>
                <a:gd name="T13" fmla="*/ 116 h 116"/>
                <a:gd name="T14" fmla="*/ 34 w 334"/>
                <a:gd name="T15" fmla="*/ 116 h 116"/>
                <a:gd name="T16" fmla="*/ 0 w 334"/>
                <a:gd name="T17" fmla="*/ 116 h 116"/>
                <a:gd name="T18" fmla="*/ 0 w 334"/>
                <a:gd name="T19" fmla="*/ 0 h 116"/>
                <a:gd name="T20" fmla="*/ 67 w 334"/>
                <a:gd name="T21" fmla="*/ 0 h 116"/>
                <a:gd name="T22" fmla="*/ 67 w 334"/>
                <a:gd name="T23" fmla="*/ 42 h 116"/>
                <a:gd name="T24" fmla="*/ 34 w 334"/>
                <a:gd name="T25" fmla="*/ 100 h 116"/>
                <a:gd name="T26" fmla="*/ 34 w 334"/>
                <a:gd name="T27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4" h="116">
                  <a:moveTo>
                    <a:pt x="334" y="116"/>
                  </a:moveTo>
                  <a:lnTo>
                    <a:pt x="300" y="116"/>
                  </a:lnTo>
                  <a:lnTo>
                    <a:pt x="300" y="100"/>
                  </a:lnTo>
                  <a:cubicBezTo>
                    <a:pt x="300" y="75"/>
                    <a:pt x="287" y="53"/>
                    <a:pt x="267" y="42"/>
                  </a:cubicBezTo>
                  <a:lnTo>
                    <a:pt x="267" y="0"/>
                  </a:lnTo>
                  <a:lnTo>
                    <a:pt x="334" y="0"/>
                  </a:lnTo>
                  <a:lnTo>
                    <a:pt x="334" y="116"/>
                  </a:lnTo>
                  <a:close/>
                  <a:moveTo>
                    <a:pt x="34" y="116"/>
                  </a:moveTo>
                  <a:lnTo>
                    <a:pt x="0" y="116"/>
                  </a:lnTo>
                  <a:lnTo>
                    <a:pt x="0" y="0"/>
                  </a:lnTo>
                  <a:lnTo>
                    <a:pt x="67" y="0"/>
                  </a:lnTo>
                  <a:lnTo>
                    <a:pt x="67" y="42"/>
                  </a:lnTo>
                  <a:cubicBezTo>
                    <a:pt x="47" y="53"/>
                    <a:pt x="34" y="75"/>
                    <a:pt x="34" y="100"/>
                  </a:cubicBezTo>
                  <a:lnTo>
                    <a:pt x="34" y="116"/>
                  </a:lnTo>
                  <a:close/>
                </a:path>
              </a:pathLst>
            </a:custGeom>
            <a:solidFill>
              <a:srgbClr val="404A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Rectangle 385"/>
            <p:cNvSpPr>
              <a:spLocks noChangeArrowheads="1"/>
            </p:cNvSpPr>
            <p:nvPr/>
          </p:nvSpPr>
          <p:spPr bwMode="auto">
            <a:xfrm>
              <a:off x="1547813" y="3867150"/>
              <a:ext cx="44450" cy="4763"/>
            </a:xfrm>
            <a:prstGeom prst="rect">
              <a:avLst/>
            </a:prstGeom>
            <a:solidFill>
              <a:srgbClr val="9797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386"/>
            <p:cNvSpPr>
              <a:spLocks noEditPoints="1"/>
            </p:cNvSpPr>
            <p:nvPr/>
          </p:nvSpPr>
          <p:spPr bwMode="auto">
            <a:xfrm>
              <a:off x="1458913" y="3871913"/>
              <a:ext cx="222250" cy="11113"/>
            </a:xfrm>
            <a:custGeom>
              <a:avLst/>
              <a:gdLst>
                <a:gd name="T0" fmla="*/ 666 w 666"/>
                <a:gd name="T1" fmla="*/ 34 h 34"/>
                <a:gd name="T2" fmla="*/ 466 w 666"/>
                <a:gd name="T3" fmla="*/ 34 h 34"/>
                <a:gd name="T4" fmla="*/ 466 w 666"/>
                <a:gd name="T5" fmla="*/ 34 h 34"/>
                <a:gd name="T6" fmla="*/ 466 w 666"/>
                <a:gd name="T7" fmla="*/ 0 h 34"/>
                <a:gd name="T8" fmla="*/ 500 w 666"/>
                <a:gd name="T9" fmla="*/ 0 h 34"/>
                <a:gd name="T10" fmla="*/ 666 w 666"/>
                <a:gd name="T11" fmla="*/ 0 h 34"/>
                <a:gd name="T12" fmla="*/ 666 w 666"/>
                <a:gd name="T13" fmla="*/ 34 h 34"/>
                <a:gd name="T14" fmla="*/ 400 w 666"/>
                <a:gd name="T15" fmla="*/ 34 h 34"/>
                <a:gd name="T16" fmla="*/ 266 w 666"/>
                <a:gd name="T17" fmla="*/ 34 h 34"/>
                <a:gd name="T18" fmla="*/ 266 w 666"/>
                <a:gd name="T19" fmla="*/ 0 h 34"/>
                <a:gd name="T20" fmla="*/ 400 w 666"/>
                <a:gd name="T21" fmla="*/ 0 h 34"/>
                <a:gd name="T22" fmla="*/ 400 w 666"/>
                <a:gd name="T23" fmla="*/ 34 h 34"/>
                <a:gd name="T24" fmla="*/ 200 w 666"/>
                <a:gd name="T25" fmla="*/ 34 h 34"/>
                <a:gd name="T26" fmla="*/ 0 w 666"/>
                <a:gd name="T27" fmla="*/ 34 h 34"/>
                <a:gd name="T28" fmla="*/ 0 w 666"/>
                <a:gd name="T29" fmla="*/ 0 h 34"/>
                <a:gd name="T30" fmla="*/ 166 w 666"/>
                <a:gd name="T31" fmla="*/ 0 h 34"/>
                <a:gd name="T32" fmla="*/ 200 w 666"/>
                <a:gd name="T33" fmla="*/ 0 h 34"/>
                <a:gd name="T34" fmla="*/ 200 w 666"/>
                <a:gd name="T35" fmla="*/ 34 h 34"/>
                <a:gd name="T36" fmla="*/ 200 w 666"/>
                <a:gd name="T3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6" h="34">
                  <a:moveTo>
                    <a:pt x="666" y="34"/>
                  </a:moveTo>
                  <a:lnTo>
                    <a:pt x="466" y="34"/>
                  </a:lnTo>
                  <a:lnTo>
                    <a:pt x="466" y="34"/>
                  </a:lnTo>
                  <a:lnTo>
                    <a:pt x="466" y="0"/>
                  </a:lnTo>
                  <a:lnTo>
                    <a:pt x="500" y="0"/>
                  </a:lnTo>
                  <a:lnTo>
                    <a:pt x="666" y="0"/>
                  </a:lnTo>
                  <a:lnTo>
                    <a:pt x="666" y="34"/>
                  </a:lnTo>
                  <a:close/>
                  <a:moveTo>
                    <a:pt x="400" y="34"/>
                  </a:moveTo>
                  <a:lnTo>
                    <a:pt x="266" y="34"/>
                  </a:lnTo>
                  <a:lnTo>
                    <a:pt x="266" y="0"/>
                  </a:lnTo>
                  <a:lnTo>
                    <a:pt x="400" y="0"/>
                  </a:lnTo>
                  <a:lnTo>
                    <a:pt x="400" y="34"/>
                  </a:lnTo>
                  <a:close/>
                  <a:moveTo>
                    <a:pt x="200" y="34"/>
                  </a:moveTo>
                  <a:lnTo>
                    <a:pt x="0" y="34"/>
                  </a:lnTo>
                  <a:lnTo>
                    <a:pt x="0" y="0"/>
                  </a:lnTo>
                  <a:lnTo>
                    <a:pt x="166" y="0"/>
                  </a:lnTo>
                  <a:lnTo>
                    <a:pt x="200" y="0"/>
                  </a:lnTo>
                  <a:lnTo>
                    <a:pt x="200" y="34"/>
                  </a:lnTo>
                  <a:lnTo>
                    <a:pt x="200" y="34"/>
                  </a:ln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387"/>
            <p:cNvSpPr>
              <a:spLocks noEditPoints="1"/>
            </p:cNvSpPr>
            <p:nvPr/>
          </p:nvSpPr>
          <p:spPr bwMode="auto">
            <a:xfrm>
              <a:off x="1525588" y="3844925"/>
              <a:ext cx="88900" cy="38100"/>
            </a:xfrm>
            <a:custGeom>
              <a:avLst/>
              <a:gdLst>
                <a:gd name="T0" fmla="*/ 266 w 266"/>
                <a:gd name="T1" fmla="*/ 117 h 117"/>
                <a:gd name="T2" fmla="*/ 0 w 266"/>
                <a:gd name="T3" fmla="*/ 117 h 117"/>
                <a:gd name="T4" fmla="*/ 0 w 266"/>
                <a:gd name="T5" fmla="*/ 117 h 117"/>
                <a:gd name="T6" fmla="*/ 0 w 266"/>
                <a:gd name="T7" fmla="*/ 67 h 117"/>
                <a:gd name="T8" fmla="*/ 33 w 266"/>
                <a:gd name="T9" fmla="*/ 9 h 117"/>
                <a:gd name="T10" fmla="*/ 66 w 266"/>
                <a:gd name="T11" fmla="*/ 0 h 117"/>
                <a:gd name="T12" fmla="*/ 200 w 266"/>
                <a:gd name="T13" fmla="*/ 0 h 117"/>
                <a:gd name="T14" fmla="*/ 233 w 266"/>
                <a:gd name="T15" fmla="*/ 9 h 117"/>
                <a:gd name="T16" fmla="*/ 266 w 266"/>
                <a:gd name="T17" fmla="*/ 67 h 117"/>
                <a:gd name="T18" fmla="*/ 266 w 266"/>
                <a:gd name="T19" fmla="*/ 83 h 117"/>
                <a:gd name="T20" fmla="*/ 266 w 266"/>
                <a:gd name="T21" fmla="*/ 117 h 117"/>
                <a:gd name="T22" fmla="*/ 266 w 266"/>
                <a:gd name="T23" fmla="*/ 117 h 117"/>
                <a:gd name="T24" fmla="*/ 66 w 266"/>
                <a:gd name="T25" fmla="*/ 83 h 117"/>
                <a:gd name="T26" fmla="*/ 66 w 266"/>
                <a:gd name="T27" fmla="*/ 117 h 117"/>
                <a:gd name="T28" fmla="*/ 200 w 266"/>
                <a:gd name="T29" fmla="*/ 117 h 117"/>
                <a:gd name="T30" fmla="*/ 200 w 266"/>
                <a:gd name="T31" fmla="*/ 83 h 117"/>
                <a:gd name="T32" fmla="*/ 200 w 266"/>
                <a:gd name="T33" fmla="*/ 67 h 117"/>
                <a:gd name="T34" fmla="*/ 66 w 266"/>
                <a:gd name="T35" fmla="*/ 67 h 117"/>
                <a:gd name="T36" fmla="*/ 66 w 266"/>
                <a:gd name="T37" fmla="*/ 83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6" h="117">
                  <a:moveTo>
                    <a:pt x="266" y="117"/>
                  </a:moveTo>
                  <a:lnTo>
                    <a:pt x="0" y="117"/>
                  </a:lnTo>
                  <a:lnTo>
                    <a:pt x="0" y="117"/>
                  </a:lnTo>
                  <a:lnTo>
                    <a:pt x="0" y="67"/>
                  </a:lnTo>
                  <a:cubicBezTo>
                    <a:pt x="0" y="42"/>
                    <a:pt x="13" y="20"/>
                    <a:pt x="33" y="9"/>
                  </a:cubicBezTo>
                  <a:cubicBezTo>
                    <a:pt x="43" y="3"/>
                    <a:pt x="54" y="0"/>
                    <a:pt x="66" y="0"/>
                  </a:cubicBezTo>
                  <a:lnTo>
                    <a:pt x="200" y="0"/>
                  </a:lnTo>
                  <a:cubicBezTo>
                    <a:pt x="212" y="0"/>
                    <a:pt x="223" y="3"/>
                    <a:pt x="233" y="9"/>
                  </a:cubicBezTo>
                  <a:cubicBezTo>
                    <a:pt x="253" y="20"/>
                    <a:pt x="266" y="42"/>
                    <a:pt x="266" y="67"/>
                  </a:cubicBezTo>
                  <a:lnTo>
                    <a:pt x="266" y="83"/>
                  </a:lnTo>
                  <a:lnTo>
                    <a:pt x="266" y="117"/>
                  </a:lnTo>
                  <a:lnTo>
                    <a:pt x="266" y="117"/>
                  </a:lnTo>
                  <a:close/>
                  <a:moveTo>
                    <a:pt x="66" y="83"/>
                  </a:moveTo>
                  <a:lnTo>
                    <a:pt x="66" y="117"/>
                  </a:lnTo>
                  <a:lnTo>
                    <a:pt x="200" y="117"/>
                  </a:lnTo>
                  <a:lnTo>
                    <a:pt x="200" y="83"/>
                  </a:lnTo>
                  <a:lnTo>
                    <a:pt x="200" y="67"/>
                  </a:lnTo>
                  <a:lnTo>
                    <a:pt x="66" y="67"/>
                  </a:lnTo>
                  <a:lnTo>
                    <a:pt x="66" y="83"/>
                  </a:lnTo>
                  <a:close/>
                </a:path>
              </a:pathLst>
            </a:custGeom>
            <a:solidFill>
              <a:srgbClr val="C7A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388"/>
            <p:cNvSpPr>
              <a:spLocks/>
            </p:cNvSpPr>
            <p:nvPr/>
          </p:nvSpPr>
          <p:spPr bwMode="auto">
            <a:xfrm>
              <a:off x="1458913" y="3822700"/>
              <a:ext cx="222250" cy="49213"/>
            </a:xfrm>
            <a:custGeom>
              <a:avLst/>
              <a:gdLst>
                <a:gd name="T0" fmla="*/ 666 w 666"/>
                <a:gd name="T1" fmla="*/ 67 h 150"/>
                <a:gd name="T2" fmla="*/ 600 w 666"/>
                <a:gd name="T3" fmla="*/ 0 h 150"/>
                <a:gd name="T4" fmla="*/ 66 w 666"/>
                <a:gd name="T5" fmla="*/ 0 h 150"/>
                <a:gd name="T6" fmla="*/ 0 w 666"/>
                <a:gd name="T7" fmla="*/ 67 h 150"/>
                <a:gd name="T8" fmla="*/ 0 w 666"/>
                <a:gd name="T9" fmla="*/ 150 h 150"/>
                <a:gd name="T10" fmla="*/ 666 w 666"/>
                <a:gd name="T11" fmla="*/ 150 h 150"/>
                <a:gd name="T12" fmla="*/ 666 w 666"/>
                <a:gd name="T13" fmla="*/ 6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6" h="150">
                  <a:moveTo>
                    <a:pt x="666" y="67"/>
                  </a:moveTo>
                  <a:cubicBezTo>
                    <a:pt x="666" y="30"/>
                    <a:pt x="637" y="0"/>
                    <a:pt x="600" y="0"/>
                  </a:cubicBezTo>
                  <a:lnTo>
                    <a:pt x="66" y="0"/>
                  </a:lnTo>
                  <a:cubicBezTo>
                    <a:pt x="30" y="0"/>
                    <a:pt x="0" y="30"/>
                    <a:pt x="0" y="67"/>
                  </a:cubicBezTo>
                  <a:lnTo>
                    <a:pt x="0" y="150"/>
                  </a:lnTo>
                  <a:lnTo>
                    <a:pt x="666" y="150"/>
                  </a:lnTo>
                  <a:lnTo>
                    <a:pt x="666" y="67"/>
                  </a:lnTo>
                  <a:close/>
                </a:path>
              </a:pathLst>
            </a:custGeom>
            <a:solidFill>
              <a:srgbClr val="C847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4426338" y="4979603"/>
            <a:ext cx="46236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Развитие </a:t>
            </a:r>
            <a:r>
              <a:rPr lang="ru-RU" b="1" dirty="0" err="1">
                <a:solidFill>
                  <a:schemeClr val="bg1"/>
                </a:solidFill>
              </a:rPr>
              <a:t>волонтерства</a:t>
            </a:r>
            <a:r>
              <a:rPr lang="ru-RU" b="1" dirty="0">
                <a:solidFill>
                  <a:schemeClr val="bg1"/>
                </a:solidFill>
              </a:rPr>
              <a:t> среди студентов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01940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3" name="Connecteur droit 2"/>
          <p:cNvCxnSpPr/>
          <p:nvPr>
            <p:custDataLst>
              <p:tags r:id="rId1"/>
            </p:custDataLst>
          </p:nvPr>
        </p:nvCxnSpPr>
        <p:spPr>
          <a:xfrm>
            <a:off x="3216506" y="1671506"/>
            <a:ext cx="2391018" cy="14817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3"/>
          <p:cNvCxnSpPr/>
          <p:nvPr>
            <p:custDataLst>
              <p:tags r:id="rId2"/>
            </p:custDataLst>
          </p:nvPr>
        </p:nvCxnSpPr>
        <p:spPr>
          <a:xfrm flipV="1">
            <a:off x="4035676" y="1602671"/>
            <a:ext cx="1866012" cy="1633424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4"/>
          <p:cNvCxnSpPr/>
          <p:nvPr>
            <p:custDataLst>
              <p:tags r:id="rId3"/>
            </p:custDataLst>
          </p:nvPr>
        </p:nvCxnSpPr>
        <p:spPr>
          <a:xfrm flipV="1">
            <a:off x="4998058" y="2063135"/>
            <a:ext cx="719841" cy="234591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5"/>
          <p:cNvCxnSpPr/>
          <p:nvPr>
            <p:custDataLst>
              <p:tags r:id="rId4"/>
            </p:custDataLst>
          </p:nvPr>
        </p:nvCxnSpPr>
        <p:spPr>
          <a:xfrm flipH="1" flipV="1">
            <a:off x="5674070" y="2147049"/>
            <a:ext cx="1326921" cy="207674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6"/>
          <p:cNvCxnSpPr/>
          <p:nvPr>
            <p:custDataLst>
              <p:tags r:id="rId5"/>
            </p:custDataLst>
          </p:nvPr>
        </p:nvCxnSpPr>
        <p:spPr>
          <a:xfrm flipH="1" flipV="1">
            <a:off x="5919835" y="2512322"/>
            <a:ext cx="2411456" cy="78352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lipse 10"/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2857885" y="2858506"/>
            <a:ext cx="1229360" cy="1229360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Ellipse 12"/>
          <p:cNvSpPr>
            <a:spLocks noChangeAspect="1"/>
          </p:cNvSpPr>
          <p:nvPr/>
        </p:nvSpPr>
        <p:spPr>
          <a:xfrm>
            <a:off x="5209721" y="1321455"/>
            <a:ext cx="1828346" cy="1828346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solidFill>
                <a:prstClr val="black"/>
              </a:solidFill>
              <a:latin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prstClr val="black"/>
                </a:solidFill>
                <a:latin typeface="Calibri"/>
              </a:rPr>
              <a:t>905 чел.</a:t>
            </a:r>
            <a:r>
              <a:rPr kumimoji="0" lang="ru-RU" sz="28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n-US" sz="2800" b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2" name="Climbing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3197103" y="3072802"/>
            <a:ext cx="586827" cy="722634"/>
            <a:chOff x="5856288" y="-142875"/>
            <a:chExt cx="1303337" cy="1604963"/>
          </a:xfrm>
          <a:solidFill>
            <a:schemeClr val="bg1"/>
          </a:solidFill>
        </p:grpSpPr>
        <p:sp>
          <p:nvSpPr>
            <p:cNvPr id="23" name="Freeform 342"/>
            <p:cNvSpPr>
              <a:spLocks/>
            </p:cNvSpPr>
            <p:nvPr/>
          </p:nvSpPr>
          <p:spPr bwMode="auto">
            <a:xfrm>
              <a:off x="6743700" y="550863"/>
              <a:ext cx="415925" cy="331788"/>
            </a:xfrm>
            <a:custGeom>
              <a:avLst/>
              <a:gdLst>
                <a:gd name="T0" fmla="*/ 89 w 547"/>
                <a:gd name="T1" fmla="*/ 401 h 435"/>
                <a:gd name="T2" fmla="*/ 0 w 547"/>
                <a:gd name="T3" fmla="*/ 230 h 435"/>
                <a:gd name="T4" fmla="*/ 224 w 547"/>
                <a:gd name="T5" fmla="*/ 251 h 435"/>
                <a:gd name="T6" fmla="*/ 333 w 547"/>
                <a:gd name="T7" fmla="*/ 195 h 435"/>
                <a:gd name="T8" fmla="*/ 446 w 547"/>
                <a:gd name="T9" fmla="*/ 0 h 435"/>
                <a:gd name="T10" fmla="*/ 534 w 547"/>
                <a:gd name="T11" fmla="*/ 170 h 435"/>
                <a:gd name="T12" fmla="*/ 513 w 547"/>
                <a:gd name="T13" fmla="*/ 238 h 435"/>
                <a:gd name="T14" fmla="*/ 156 w 547"/>
                <a:gd name="T15" fmla="*/ 422 h 435"/>
                <a:gd name="T16" fmla="*/ 89 w 547"/>
                <a:gd name="T17" fmla="*/ 401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7" h="435">
                  <a:moveTo>
                    <a:pt x="89" y="401"/>
                  </a:moveTo>
                  <a:cubicBezTo>
                    <a:pt x="67" y="358"/>
                    <a:pt x="33" y="294"/>
                    <a:pt x="0" y="230"/>
                  </a:cubicBezTo>
                  <a:cubicBezTo>
                    <a:pt x="86" y="238"/>
                    <a:pt x="165" y="246"/>
                    <a:pt x="224" y="251"/>
                  </a:cubicBezTo>
                  <a:cubicBezTo>
                    <a:pt x="264" y="255"/>
                    <a:pt x="313" y="229"/>
                    <a:pt x="333" y="195"/>
                  </a:cubicBezTo>
                  <a:cubicBezTo>
                    <a:pt x="363" y="143"/>
                    <a:pt x="403" y="74"/>
                    <a:pt x="446" y="0"/>
                  </a:cubicBezTo>
                  <a:cubicBezTo>
                    <a:pt x="479" y="64"/>
                    <a:pt x="512" y="128"/>
                    <a:pt x="534" y="170"/>
                  </a:cubicBezTo>
                  <a:cubicBezTo>
                    <a:pt x="547" y="195"/>
                    <a:pt x="537" y="225"/>
                    <a:pt x="513" y="238"/>
                  </a:cubicBezTo>
                  <a:cubicBezTo>
                    <a:pt x="430" y="280"/>
                    <a:pt x="239" y="379"/>
                    <a:pt x="156" y="422"/>
                  </a:cubicBezTo>
                  <a:cubicBezTo>
                    <a:pt x="131" y="435"/>
                    <a:pt x="101" y="425"/>
                    <a:pt x="89" y="40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343"/>
            <p:cNvSpPr>
              <a:spLocks noEditPoints="1"/>
            </p:cNvSpPr>
            <p:nvPr/>
          </p:nvSpPr>
          <p:spPr bwMode="auto">
            <a:xfrm>
              <a:off x="6702425" y="471488"/>
              <a:ext cx="374650" cy="249238"/>
            </a:xfrm>
            <a:custGeom>
              <a:avLst/>
              <a:gdLst>
                <a:gd name="T0" fmla="*/ 163 w 491"/>
                <a:gd name="T1" fmla="*/ 142 h 327"/>
                <a:gd name="T2" fmla="*/ 204 w 491"/>
                <a:gd name="T3" fmla="*/ 79 h 327"/>
                <a:gd name="T4" fmla="*/ 280 w 491"/>
                <a:gd name="T5" fmla="*/ 82 h 327"/>
                <a:gd name="T6" fmla="*/ 163 w 491"/>
                <a:gd name="T7" fmla="*/ 142 h 327"/>
                <a:gd name="T8" fmla="*/ 12 w 491"/>
                <a:gd name="T9" fmla="*/ 278 h 327"/>
                <a:gd name="T10" fmla="*/ 25 w 491"/>
                <a:gd name="T11" fmla="*/ 303 h 327"/>
                <a:gd name="T12" fmla="*/ 271 w 491"/>
                <a:gd name="T13" fmla="*/ 326 h 327"/>
                <a:gd name="T14" fmla="*/ 325 w 491"/>
                <a:gd name="T15" fmla="*/ 314 h 327"/>
                <a:gd name="T16" fmla="*/ 367 w 491"/>
                <a:gd name="T17" fmla="*/ 276 h 327"/>
                <a:gd name="T18" fmla="*/ 491 w 491"/>
                <a:gd name="T19" fmla="*/ 62 h 327"/>
                <a:gd name="T20" fmla="*/ 478 w 491"/>
                <a:gd name="T21" fmla="*/ 37 h 327"/>
                <a:gd name="T22" fmla="*/ 409 w 491"/>
                <a:gd name="T23" fmla="*/ 15 h 327"/>
                <a:gd name="T24" fmla="*/ 323 w 491"/>
                <a:gd name="T25" fmla="*/ 59 h 327"/>
                <a:gd name="T26" fmla="*/ 308 w 491"/>
                <a:gd name="T27" fmla="*/ 53 h 327"/>
                <a:gd name="T28" fmla="*/ 186 w 491"/>
                <a:gd name="T29" fmla="*/ 43 h 327"/>
                <a:gd name="T30" fmla="*/ 123 w 491"/>
                <a:gd name="T31" fmla="*/ 148 h 327"/>
                <a:gd name="T32" fmla="*/ 119 w 491"/>
                <a:gd name="T33" fmla="*/ 165 h 327"/>
                <a:gd name="T34" fmla="*/ 33 w 491"/>
                <a:gd name="T35" fmla="*/ 209 h 327"/>
                <a:gd name="T36" fmla="*/ 12 w 491"/>
                <a:gd name="T37" fmla="*/ 278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1" h="327">
                  <a:moveTo>
                    <a:pt x="163" y="142"/>
                  </a:moveTo>
                  <a:cubicBezTo>
                    <a:pt x="164" y="120"/>
                    <a:pt x="169" y="97"/>
                    <a:pt x="204" y="79"/>
                  </a:cubicBezTo>
                  <a:cubicBezTo>
                    <a:pt x="240" y="60"/>
                    <a:pt x="261" y="70"/>
                    <a:pt x="280" y="82"/>
                  </a:cubicBezTo>
                  <a:cubicBezTo>
                    <a:pt x="242" y="101"/>
                    <a:pt x="201" y="122"/>
                    <a:pt x="163" y="142"/>
                  </a:cubicBezTo>
                  <a:close/>
                  <a:moveTo>
                    <a:pt x="12" y="278"/>
                  </a:moveTo>
                  <a:cubicBezTo>
                    <a:pt x="17" y="288"/>
                    <a:pt x="25" y="303"/>
                    <a:pt x="25" y="303"/>
                  </a:cubicBezTo>
                  <a:lnTo>
                    <a:pt x="271" y="326"/>
                  </a:lnTo>
                  <a:cubicBezTo>
                    <a:pt x="288" y="327"/>
                    <a:pt x="307" y="323"/>
                    <a:pt x="325" y="314"/>
                  </a:cubicBezTo>
                  <a:cubicBezTo>
                    <a:pt x="343" y="304"/>
                    <a:pt x="359" y="291"/>
                    <a:pt x="367" y="276"/>
                  </a:cubicBezTo>
                  <a:lnTo>
                    <a:pt x="491" y="62"/>
                  </a:lnTo>
                  <a:cubicBezTo>
                    <a:pt x="491" y="62"/>
                    <a:pt x="483" y="47"/>
                    <a:pt x="478" y="37"/>
                  </a:cubicBezTo>
                  <a:cubicBezTo>
                    <a:pt x="466" y="15"/>
                    <a:pt x="438" y="0"/>
                    <a:pt x="409" y="15"/>
                  </a:cubicBezTo>
                  <a:cubicBezTo>
                    <a:pt x="397" y="21"/>
                    <a:pt x="354" y="43"/>
                    <a:pt x="323" y="59"/>
                  </a:cubicBezTo>
                  <a:cubicBezTo>
                    <a:pt x="319" y="61"/>
                    <a:pt x="312" y="55"/>
                    <a:pt x="308" y="53"/>
                  </a:cubicBezTo>
                  <a:cubicBezTo>
                    <a:pt x="286" y="38"/>
                    <a:pt x="246" y="12"/>
                    <a:pt x="186" y="43"/>
                  </a:cubicBezTo>
                  <a:cubicBezTo>
                    <a:pt x="125" y="75"/>
                    <a:pt x="124" y="123"/>
                    <a:pt x="123" y="148"/>
                  </a:cubicBezTo>
                  <a:cubicBezTo>
                    <a:pt x="122" y="153"/>
                    <a:pt x="123" y="163"/>
                    <a:pt x="119" y="165"/>
                  </a:cubicBezTo>
                  <a:cubicBezTo>
                    <a:pt x="81" y="184"/>
                    <a:pt x="45" y="203"/>
                    <a:pt x="33" y="209"/>
                  </a:cubicBezTo>
                  <a:cubicBezTo>
                    <a:pt x="5" y="224"/>
                    <a:pt x="0" y="256"/>
                    <a:pt x="12" y="278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344"/>
            <p:cNvSpPr>
              <a:spLocks noEditPoints="1"/>
            </p:cNvSpPr>
            <p:nvPr/>
          </p:nvSpPr>
          <p:spPr bwMode="auto">
            <a:xfrm>
              <a:off x="6015038" y="138113"/>
              <a:ext cx="846138" cy="1042988"/>
            </a:xfrm>
            <a:custGeom>
              <a:avLst/>
              <a:gdLst>
                <a:gd name="T0" fmla="*/ 491 w 1111"/>
                <a:gd name="T1" fmla="*/ 131 h 1370"/>
                <a:gd name="T2" fmla="*/ 504 w 1111"/>
                <a:gd name="T3" fmla="*/ 92 h 1370"/>
                <a:gd name="T4" fmla="*/ 525 w 1111"/>
                <a:gd name="T5" fmla="*/ 80 h 1370"/>
                <a:gd name="T6" fmla="*/ 550 w 1111"/>
                <a:gd name="T7" fmla="*/ 83 h 1370"/>
                <a:gd name="T8" fmla="*/ 577 w 1111"/>
                <a:gd name="T9" fmla="*/ 113 h 1370"/>
                <a:gd name="T10" fmla="*/ 576 w 1111"/>
                <a:gd name="T11" fmla="*/ 140 h 1370"/>
                <a:gd name="T12" fmla="*/ 565 w 1111"/>
                <a:gd name="T13" fmla="*/ 182 h 1370"/>
                <a:gd name="T14" fmla="*/ 673 w 1111"/>
                <a:gd name="T15" fmla="*/ 415 h 1370"/>
                <a:gd name="T16" fmla="*/ 617 w 1111"/>
                <a:gd name="T17" fmla="*/ 515 h 1370"/>
                <a:gd name="T18" fmla="*/ 525 w 1111"/>
                <a:gd name="T19" fmla="*/ 446 h 1370"/>
                <a:gd name="T20" fmla="*/ 531 w 1111"/>
                <a:gd name="T21" fmla="*/ 190 h 1370"/>
                <a:gd name="T22" fmla="*/ 503 w 1111"/>
                <a:gd name="T23" fmla="*/ 155 h 1370"/>
                <a:gd name="T24" fmla="*/ 491 w 1111"/>
                <a:gd name="T25" fmla="*/ 131 h 1370"/>
                <a:gd name="T26" fmla="*/ 374 w 1111"/>
                <a:gd name="T27" fmla="*/ 302 h 1370"/>
                <a:gd name="T28" fmla="*/ 442 w 1111"/>
                <a:gd name="T29" fmla="*/ 621 h 1370"/>
                <a:gd name="T30" fmla="*/ 303 w 1111"/>
                <a:gd name="T31" fmla="*/ 656 h 1370"/>
                <a:gd name="T32" fmla="*/ 266 w 1111"/>
                <a:gd name="T33" fmla="*/ 764 h 1370"/>
                <a:gd name="T34" fmla="*/ 357 w 1111"/>
                <a:gd name="T35" fmla="*/ 1000 h 1370"/>
                <a:gd name="T36" fmla="*/ 305 w 1111"/>
                <a:gd name="T37" fmla="*/ 1023 h 1370"/>
                <a:gd name="T38" fmla="*/ 315 w 1111"/>
                <a:gd name="T39" fmla="*/ 1080 h 1370"/>
                <a:gd name="T40" fmla="*/ 458 w 1111"/>
                <a:gd name="T41" fmla="*/ 1080 h 1370"/>
                <a:gd name="T42" fmla="*/ 495 w 1111"/>
                <a:gd name="T43" fmla="*/ 1020 h 1370"/>
                <a:gd name="T44" fmla="*/ 442 w 1111"/>
                <a:gd name="T45" fmla="*/ 800 h 1370"/>
                <a:gd name="T46" fmla="*/ 674 w 1111"/>
                <a:gd name="T47" fmla="*/ 787 h 1370"/>
                <a:gd name="T48" fmla="*/ 788 w 1111"/>
                <a:gd name="T49" fmla="*/ 1283 h 1370"/>
                <a:gd name="T50" fmla="*/ 739 w 1111"/>
                <a:gd name="T51" fmla="*/ 1311 h 1370"/>
                <a:gd name="T52" fmla="*/ 751 w 1111"/>
                <a:gd name="T53" fmla="*/ 1370 h 1370"/>
                <a:gd name="T54" fmla="*/ 894 w 1111"/>
                <a:gd name="T55" fmla="*/ 1370 h 1370"/>
                <a:gd name="T56" fmla="*/ 930 w 1111"/>
                <a:gd name="T57" fmla="*/ 1314 h 1370"/>
                <a:gd name="T58" fmla="*/ 753 w 1111"/>
                <a:gd name="T59" fmla="*/ 222 h 1370"/>
                <a:gd name="T60" fmla="*/ 903 w 1111"/>
                <a:gd name="T61" fmla="*/ 286 h 1370"/>
                <a:gd name="T62" fmla="*/ 992 w 1111"/>
                <a:gd name="T63" fmla="*/ 436 h 1370"/>
                <a:gd name="T64" fmla="*/ 1046 w 1111"/>
                <a:gd name="T65" fmla="*/ 458 h 1370"/>
                <a:gd name="T66" fmla="*/ 1093 w 1111"/>
                <a:gd name="T67" fmla="*/ 433 h 1370"/>
                <a:gd name="T68" fmla="*/ 1094 w 1111"/>
                <a:gd name="T69" fmla="*/ 371 h 1370"/>
                <a:gd name="T70" fmla="*/ 1027 w 1111"/>
                <a:gd name="T71" fmla="*/ 236 h 1370"/>
                <a:gd name="T72" fmla="*/ 941 w 1111"/>
                <a:gd name="T73" fmla="*/ 142 h 1370"/>
                <a:gd name="T74" fmla="*/ 793 w 1111"/>
                <a:gd name="T75" fmla="*/ 48 h 1370"/>
                <a:gd name="T76" fmla="*/ 669 w 1111"/>
                <a:gd name="T77" fmla="*/ 9 h 1370"/>
                <a:gd name="T78" fmla="*/ 517 w 1111"/>
                <a:gd name="T79" fmla="*/ 40 h 1370"/>
                <a:gd name="T80" fmla="*/ 365 w 1111"/>
                <a:gd name="T81" fmla="*/ 72 h 1370"/>
                <a:gd name="T82" fmla="*/ 259 w 1111"/>
                <a:gd name="T83" fmla="*/ 175 h 1370"/>
                <a:gd name="T84" fmla="*/ 204 w 1111"/>
                <a:gd name="T85" fmla="*/ 272 h 1370"/>
                <a:gd name="T86" fmla="*/ 117 w 1111"/>
                <a:gd name="T87" fmla="*/ 177 h 1370"/>
                <a:gd name="T88" fmla="*/ 59 w 1111"/>
                <a:gd name="T89" fmla="*/ 154 h 1370"/>
                <a:gd name="T90" fmla="*/ 18 w 1111"/>
                <a:gd name="T91" fmla="*/ 189 h 1370"/>
                <a:gd name="T92" fmla="*/ 19 w 1111"/>
                <a:gd name="T93" fmla="*/ 247 h 1370"/>
                <a:gd name="T94" fmla="*/ 158 w 1111"/>
                <a:gd name="T95" fmla="*/ 420 h 1370"/>
                <a:gd name="T96" fmla="*/ 286 w 1111"/>
                <a:gd name="T97" fmla="*/ 414 h 1370"/>
                <a:gd name="T98" fmla="*/ 374 w 1111"/>
                <a:gd name="T99" fmla="*/ 302 h 1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11" h="1370">
                  <a:moveTo>
                    <a:pt x="491" y="131"/>
                  </a:moveTo>
                  <a:cubicBezTo>
                    <a:pt x="495" y="121"/>
                    <a:pt x="499" y="107"/>
                    <a:pt x="504" y="92"/>
                  </a:cubicBezTo>
                  <a:cubicBezTo>
                    <a:pt x="506" y="86"/>
                    <a:pt x="515" y="82"/>
                    <a:pt x="525" y="80"/>
                  </a:cubicBezTo>
                  <a:cubicBezTo>
                    <a:pt x="536" y="78"/>
                    <a:pt x="545" y="78"/>
                    <a:pt x="550" y="83"/>
                  </a:cubicBezTo>
                  <a:cubicBezTo>
                    <a:pt x="561" y="94"/>
                    <a:pt x="570" y="105"/>
                    <a:pt x="577" y="113"/>
                  </a:cubicBezTo>
                  <a:cubicBezTo>
                    <a:pt x="586" y="123"/>
                    <a:pt x="583" y="131"/>
                    <a:pt x="576" y="140"/>
                  </a:cubicBezTo>
                  <a:cubicBezTo>
                    <a:pt x="563" y="157"/>
                    <a:pt x="557" y="165"/>
                    <a:pt x="565" y="182"/>
                  </a:cubicBezTo>
                  <a:cubicBezTo>
                    <a:pt x="578" y="214"/>
                    <a:pt x="662" y="390"/>
                    <a:pt x="673" y="415"/>
                  </a:cubicBezTo>
                  <a:cubicBezTo>
                    <a:pt x="666" y="440"/>
                    <a:pt x="628" y="512"/>
                    <a:pt x="617" y="515"/>
                  </a:cubicBezTo>
                  <a:cubicBezTo>
                    <a:pt x="605" y="517"/>
                    <a:pt x="542" y="466"/>
                    <a:pt x="525" y="446"/>
                  </a:cubicBezTo>
                  <a:cubicBezTo>
                    <a:pt x="525" y="419"/>
                    <a:pt x="532" y="224"/>
                    <a:pt x="531" y="190"/>
                  </a:cubicBezTo>
                  <a:cubicBezTo>
                    <a:pt x="530" y="170"/>
                    <a:pt x="522" y="165"/>
                    <a:pt x="503" y="155"/>
                  </a:cubicBezTo>
                  <a:cubicBezTo>
                    <a:pt x="494" y="150"/>
                    <a:pt x="487" y="143"/>
                    <a:pt x="491" y="131"/>
                  </a:cubicBezTo>
                  <a:close/>
                  <a:moveTo>
                    <a:pt x="374" y="302"/>
                  </a:moveTo>
                  <a:cubicBezTo>
                    <a:pt x="381" y="337"/>
                    <a:pt x="411" y="476"/>
                    <a:pt x="442" y="621"/>
                  </a:cubicBezTo>
                  <a:cubicBezTo>
                    <a:pt x="395" y="633"/>
                    <a:pt x="336" y="648"/>
                    <a:pt x="303" y="656"/>
                  </a:cubicBezTo>
                  <a:cubicBezTo>
                    <a:pt x="262" y="667"/>
                    <a:pt x="250" y="722"/>
                    <a:pt x="266" y="764"/>
                  </a:cubicBezTo>
                  <a:cubicBezTo>
                    <a:pt x="315" y="895"/>
                    <a:pt x="335" y="944"/>
                    <a:pt x="357" y="1000"/>
                  </a:cubicBezTo>
                  <a:cubicBezTo>
                    <a:pt x="357" y="1010"/>
                    <a:pt x="333" y="1014"/>
                    <a:pt x="305" y="1023"/>
                  </a:cubicBezTo>
                  <a:cubicBezTo>
                    <a:pt x="277" y="1032"/>
                    <a:pt x="295" y="1080"/>
                    <a:pt x="315" y="1080"/>
                  </a:cubicBezTo>
                  <a:lnTo>
                    <a:pt x="458" y="1080"/>
                  </a:lnTo>
                  <a:cubicBezTo>
                    <a:pt x="476" y="1080"/>
                    <a:pt x="499" y="1064"/>
                    <a:pt x="495" y="1020"/>
                  </a:cubicBezTo>
                  <a:cubicBezTo>
                    <a:pt x="492" y="974"/>
                    <a:pt x="472" y="900"/>
                    <a:pt x="442" y="800"/>
                  </a:cubicBezTo>
                  <a:cubicBezTo>
                    <a:pt x="474" y="797"/>
                    <a:pt x="595" y="795"/>
                    <a:pt x="674" y="787"/>
                  </a:cubicBezTo>
                  <a:cubicBezTo>
                    <a:pt x="722" y="979"/>
                    <a:pt x="776" y="1201"/>
                    <a:pt x="788" y="1283"/>
                  </a:cubicBezTo>
                  <a:cubicBezTo>
                    <a:pt x="789" y="1293"/>
                    <a:pt x="764" y="1301"/>
                    <a:pt x="739" y="1311"/>
                  </a:cubicBezTo>
                  <a:cubicBezTo>
                    <a:pt x="699" y="1327"/>
                    <a:pt x="733" y="1370"/>
                    <a:pt x="751" y="1370"/>
                  </a:cubicBezTo>
                  <a:lnTo>
                    <a:pt x="894" y="1370"/>
                  </a:lnTo>
                  <a:cubicBezTo>
                    <a:pt x="913" y="1370"/>
                    <a:pt x="930" y="1362"/>
                    <a:pt x="930" y="1314"/>
                  </a:cubicBezTo>
                  <a:cubicBezTo>
                    <a:pt x="930" y="1212"/>
                    <a:pt x="775" y="323"/>
                    <a:pt x="753" y="222"/>
                  </a:cubicBezTo>
                  <a:cubicBezTo>
                    <a:pt x="808" y="244"/>
                    <a:pt x="849" y="259"/>
                    <a:pt x="903" y="286"/>
                  </a:cubicBezTo>
                  <a:cubicBezTo>
                    <a:pt x="935" y="338"/>
                    <a:pt x="965" y="390"/>
                    <a:pt x="992" y="436"/>
                  </a:cubicBezTo>
                  <a:cubicBezTo>
                    <a:pt x="1007" y="461"/>
                    <a:pt x="1024" y="469"/>
                    <a:pt x="1046" y="458"/>
                  </a:cubicBezTo>
                  <a:cubicBezTo>
                    <a:pt x="1064" y="450"/>
                    <a:pt x="1076" y="443"/>
                    <a:pt x="1093" y="433"/>
                  </a:cubicBezTo>
                  <a:cubicBezTo>
                    <a:pt x="1105" y="427"/>
                    <a:pt x="1111" y="406"/>
                    <a:pt x="1094" y="371"/>
                  </a:cubicBezTo>
                  <a:cubicBezTo>
                    <a:pt x="1070" y="323"/>
                    <a:pt x="1048" y="279"/>
                    <a:pt x="1027" y="236"/>
                  </a:cubicBezTo>
                  <a:cubicBezTo>
                    <a:pt x="1001" y="182"/>
                    <a:pt x="968" y="160"/>
                    <a:pt x="941" y="142"/>
                  </a:cubicBezTo>
                  <a:cubicBezTo>
                    <a:pt x="893" y="111"/>
                    <a:pt x="845" y="80"/>
                    <a:pt x="793" y="48"/>
                  </a:cubicBezTo>
                  <a:cubicBezTo>
                    <a:pt x="733" y="11"/>
                    <a:pt x="714" y="0"/>
                    <a:pt x="669" y="9"/>
                  </a:cubicBezTo>
                  <a:cubicBezTo>
                    <a:pt x="643" y="13"/>
                    <a:pt x="583" y="27"/>
                    <a:pt x="517" y="40"/>
                  </a:cubicBezTo>
                  <a:cubicBezTo>
                    <a:pt x="452" y="54"/>
                    <a:pt x="391" y="67"/>
                    <a:pt x="365" y="72"/>
                  </a:cubicBezTo>
                  <a:cubicBezTo>
                    <a:pt x="315" y="83"/>
                    <a:pt x="294" y="114"/>
                    <a:pt x="259" y="175"/>
                  </a:cubicBezTo>
                  <a:cubicBezTo>
                    <a:pt x="240" y="208"/>
                    <a:pt x="222" y="241"/>
                    <a:pt x="204" y="272"/>
                  </a:cubicBezTo>
                  <a:cubicBezTo>
                    <a:pt x="179" y="247"/>
                    <a:pt x="193" y="262"/>
                    <a:pt x="117" y="177"/>
                  </a:cubicBezTo>
                  <a:cubicBezTo>
                    <a:pt x="91" y="147"/>
                    <a:pt x="69" y="145"/>
                    <a:pt x="59" y="154"/>
                  </a:cubicBezTo>
                  <a:cubicBezTo>
                    <a:pt x="44" y="167"/>
                    <a:pt x="33" y="175"/>
                    <a:pt x="18" y="189"/>
                  </a:cubicBezTo>
                  <a:cubicBezTo>
                    <a:pt x="0" y="205"/>
                    <a:pt x="1" y="224"/>
                    <a:pt x="19" y="247"/>
                  </a:cubicBezTo>
                  <a:cubicBezTo>
                    <a:pt x="42" y="276"/>
                    <a:pt x="131" y="389"/>
                    <a:pt x="158" y="420"/>
                  </a:cubicBezTo>
                  <a:cubicBezTo>
                    <a:pt x="189" y="455"/>
                    <a:pt x="245" y="460"/>
                    <a:pt x="286" y="414"/>
                  </a:cubicBezTo>
                  <a:cubicBezTo>
                    <a:pt x="305" y="392"/>
                    <a:pt x="350" y="334"/>
                    <a:pt x="374" y="30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345"/>
            <p:cNvSpPr>
              <a:spLocks/>
            </p:cNvSpPr>
            <p:nvPr/>
          </p:nvSpPr>
          <p:spPr bwMode="auto">
            <a:xfrm>
              <a:off x="6253163" y="-142875"/>
              <a:ext cx="239713" cy="282575"/>
            </a:xfrm>
            <a:custGeom>
              <a:avLst/>
              <a:gdLst>
                <a:gd name="T0" fmla="*/ 193 w 314"/>
                <a:gd name="T1" fmla="*/ 355 h 371"/>
                <a:gd name="T2" fmla="*/ 20 w 314"/>
                <a:gd name="T3" fmla="*/ 214 h 371"/>
                <a:gd name="T4" fmla="*/ 121 w 314"/>
                <a:gd name="T5" fmla="*/ 16 h 371"/>
                <a:gd name="T6" fmla="*/ 294 w 314"/>
                <a:gd name="T7" fmla="*/ 156 h 371"/>
                <a:gd name="T8" fmla="*/ 193 w 314"/>
                <a:gd name="T9" fmla="*/ 355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371">
                  <a:moveTo>
                    <a:pt x="193" y="355"/>
                  </a:moveTo>
                  <a:cubicBezTo>
                    <a:pt x="117" y="371"/>
                    <a:pt x="39" y="308"/>
                    <a:pt x="20" y="214"/>
                  </a:cubicBezTo>
                  <a:cubicBezTo>
                    <a:pt x="0" y="121"/>
                    <a:pt x="46" y="32"/>
                    <a:pt x="121" y="16"/>
                  </a:cubicBezTo>
                  <a:cubicBezTo>
                    <a:pt x="197" y="0"/>
                    <a:pt x="275" y="63"/>
                    <a:pt x="294" y="156"/>
                  </a:cubicBezTo>
                  <a:cubicBezTo>
                    <a:pt x="314" y="250"/>
                    <a:pt x="269" y="339"/>
                    <a:pt x="193" y="35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346"/>
            <p:cNvSpPr>
              <a:spLocks/>
            </p:cNvSpPr>
            <p:nvPr/>
          </p:nvSpPr>
          <p:spPr bwMode="auto">
            <a:xfrm>
              <a:off x="5856288" y="765175"/>
              <a:ext cx="1203325" cy="696913"/>
            </a:xfrm>
            <a:custGeom>
              <a:avLst/>
              <a:gdLst>
                <a:gd name="T0" fmla="*/ 1131 w 1580"/>
                <a:gd name="T1" fmla="*/ 883 h 914"/>
                <a:gd name="T2" fmla="*/ 1131 w 1580"/>
                <a:gd name="T3" fmla="*/ 629 h 914"/>
                <a:gd name="T4" fmla="*/ 774 w 1580"/>
                <a:gd name="T5" fmla="*/ 629 h 914"/>
                <a:gd name="T6" fmla="*/ 743 w 1580"/>
                <a:gd name="T7" fmla="*/ 599 h 914"/>
                <a:gd name="T8" fmla="*/ 743 w 1580"/>
                <a:gd name="T9" fmla="*/ 345 h 914"/>
                <a:gd name="T10" fmla="*/ 386 w 1580"/>
                <a:gd name="T11" fmla="*/ 345 h 914"/>
                <a:gd name="T12" fmla="*/ 386 w 1580"/>
                <a:gd name="T13" fmla="*/ 345 h 914"/>
                <a:gd name="T14" fmla="*/ 355 w 1580"/>
                <a:gd name="T15" fmla="*/ 315 h 914"/>
                <a:gd name="T16" fmla="*/ 355 w 1580"/>
                <a:gd name="T17" fmla="*/ 61 h 914"/>
                <a:gd name="T18" fmla="*/ 31 w 1580"/>
                <a:gd name="T19" fmla="*/ 61 h 914"/>
                <a:gd name="T20" fmla="*/ 0 w 1580"/>
                <a:gd name="T21" fmla="*/ 30 h 914"/>
                <a:gd name="T22" fmla="*/ 31 w 1580"/>
                <a:gd name="T23" fmla="*/ 0 h 914"/>
                <a:gd name="T24" fmla="*/ 386 w 1580"/>
                <a:gd name="T25" fmla="*/ 0 h 914"/>
                <a:gd name="T26" fmla="*/ 416 w 1580"/>
                <a:gd name="T27" fmla="*/ 30 h 914"/>
                <a:gd name="T28" fmla="*/ 416 w 1580"/>
                <a:gd name="T29" fmla="*/ 284 h 914"/>
                <a:gd name="T30" fmla="*/ 774 w 1580"/>
                <a:gd name="T31" fmla="*/ 284 h 914"/>
                <a:gd name="T32" fmla="*/ 804 w 1580"/>
                <a:gd name="T33" fmla="*/ 315 h 914"/>
                <a:gd name="T34" fmla="*/ 804 w 1580"/>
                <a:gd name="T35" fmla="*/ 568 h 914"/>
                <a:gd name="T36" fmla="*/ 1162 w 1580"/>
                <a:gd name="T37" fmla="*/ 568 h 914"/>
                <a:gd name="T38" fmla="*/ 1192 w 1580"/>
                <a:gd name="T39" fmla="*/ 599 h 914"/>
                <a:gd name="T40" fmla="*/ 1192 w 1580"/>
                <a:gd name="T41" fmla="*/ 853 h 914"/>
                <a:gd name="T42" fmla="*/ 1550 w 1580"/>
                <a:gd name="T43" fmla="*/ 853 h 914"/>
                <a:gd name="T44" fmla="*/ 1580 w 1580"/>
                <a:gd name="T45" fmla="*/ 883 h 914"/>
                <a:gd name="T46" fmla="*/ 1544 w 1580"/>
                <a:gd name="T47" fmla="*/ 914 h 914"/>
                <a:gd name="T48" fmla="*/ 1162 w 1580"/>
                <a:gd name="T49" fmla="*/ 914 h 914"/>
                <a:gd name="T50" fmla="*/ 1131 w 1580"/>
                <a:gd name="T51" fmla="*/ 883 h 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80" h="914">
                  <a:moveTo>
                    <a:pt x="1131" y="883"/>
                  </a:moveTo>
                  <a:lnTo>
                    <a:pt x="1131" y="629"/>
                  </a:lnTo>
                  <a:lnTo>
                    <a:pt x="774" y="629"/>
                  </a:lnTo>
                  <a:cubicBezTo>
                    <a:pt x="757" y="629"/>
                    <a:pt x="743" y="616"/>
                    <a:pt x="743" y="599"/>
                  </a:cubicBezTo>
                  <a:lnTo>
                    <a:pt x="743" y="345"/>
                  </a:lnTo>
                  <a:lnTo>
                    <a:pt x="386" y="345"/>
                  </a:lnTo>
                  <a:lnTo>
                    <a:pt x="386" y="345"/>
                  </a:lnTo>
                  <a:cubicBezTo>
                    <a:pt x="369" y="345"/>
                    <a:pt x="355" y="331"/>
                    <a:pt x="355" y="315"/>
                  </a:cubicBezTo>
                  <a:lnTo>
                    <a:pt x="355" y="61"/>
                  </a:lnTo>
                  <a:lnTo>
                    <a:pt x="31" y="61"/>
                  </a:lnTo>
                  <a:cubicBezTo>
                    <a:pt x="14" y="61"/>
                    <a:pt x="0" y="47"/>
                    <a:pt x="0" y="30"/>
                  </a:cubicBezTo>
                  <a:cubicBezTo>
                    <a:pt x="0" y="13"/>
                    <a:pt x="14" y="0"/>
                    <a:pt x="31" y="0"/>
                  </a:cubicBezTo>
                  <a:lnTo>
                    <a:pt x="386" y="0"/>
                  </a:lnTo>
                  <a:cubicBezTo>
                    <a:pt x="402" y="0"/>
                    <a:pt x="416" y="13"/>
                    <a:pt x="416" y="30"/>
                  </a:cubicBezTo>
                  <a:lnTo>
                    <a:pt x="416" y="284"/>
                  </a:lnTo>
                  <a:lnTo>
                    <a:pt x="774" y="284"/>
                  </a:lnTo>
                  <a:cubicBezTo>
                    <a:pt x="790" y="284"/>
                    <a:pt x="804" y="298"/>
                    <a:pt x="804" y="315"/>
                  </a:cubicBezTo>
                  <a:lnTo>
                    <a:pt x="804" y="568"/>
                  </a:lnTo>
                  <a:lnTo>
                    <a:pt x="1162" y="568"/>
                  </a:lnTo>
                  <a:cubicBezTo>
                    <a:pt x="1179" y="568"/>
                    <a:pt x="1192" y="582"/>
                    <a:pt x="1192" y="599"/>
                  </a:cubicBezTo>
                  <a:lnTo>
                    <a:pt x="1192" y="853"/>
                  </a:lnTo>
                  <a:lnTo>
                    <a:pt x="1550" y="853"/>
                  </a:lnTo>
                  <a:cubicBezTo>
                    <a:pt x="1567" y="853"/>
                    <a:pt x="1580" y="866"/>
                    <a:pt x="1580" y="883"/>
                  </a:cubicBezTo>
                  <a:cubicBezTo>
                    <a:pt x="1580" y="899"/>
                    <a:pt x="1568" y="914"/>
                    <a:pt x="1544" y="914"/>
                  </a:cubicBezTo>
                  <a:lnTo>
                    <a:pt x="1162" y="914"/>
                  </a:lnTo>
                  <a:cubicBezTo>
                    <a:pt x="1145" y="914"/>
                    <a:pt x="1131" y="900"/>
                    <a:pt x="1131" y="883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1" name="TextBox 12 - 1"/>
          <p:cNvSpPr txBox="1"/>
          <p:nvPr/>
        </p:nvSpPr>
        <p:spPr>
          <a:xfrm>
            <a:off x="0" y="2388278"/>
            <a:ext cx="26297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400" dirty="0"/>
              <a:t>	</a:t>
            </a:r>
            <a:r>
              <a:rPr lang="ru-RU" sz="2400" dirty="0">
                <a:solidFill>
                  <a:schemeClr val="bg1"/>
                </a:solidFill>
              </a:rPr>
              <a:t>   </a:t>
            </a:r>
            <a:r>
              <a:rPr lang="ru-RU" sz="2800" b="1" dirty="0">
                <a:solidFill>
                  <a:srgbClr val="FFFF00"/>
                </a:solidFill>
              </a:rPr>
              <a:t>21</a:t>
            </a:r>
          </a:p>
          <a:p>
            <a:pPr lvl="0" algn="ctr">
              <a:defRPr/>
            </a:pPr>
            <a:r>
              <a:rPr lang="ru-RU" sz="2000" b="1" i="1" dirty="0">
                <a:solidFill>
                  <a:schemeClr val="bg1"/>
                </a:solidFill>
              </a:rPr>
              <a:t>Студенты сироты 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3" name="TextBox 12"/>
          <p:cNvSpPr txBox="1"/>
          <p:nvPr/>
        </p:nvSpPr>
        <p:spPr>
          <a:xfrm>
            <a:off x="9472399" y="854464"/>
            <a:ext cx="2740078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2800" b="1" dirty="0">
                <a:solidFill>
                  <a:schemeClr val="bg1"/>
                </a:solidFill>
              </a:rPr>
              <a:t> </a:t>
            </a:r>
          </a:p>
          <a:p>
            <a:pPr lvl="0" algn="ctr">
              <a:defRPr/>
            </a:pPr>
            <a:r>
              <a:rPr lang="ru-RU" sz="2800" b="1" dirty="0">
                <a:solidFill>
                  <a:srgbClr val="FFFF00"/>
                </a:solidFill>
              </a:rPr>
              <a:t>700</a:t>
            </a:r>
            <a:r>
              <a:rPr lang="ru-RU" sz="2800" b="1" dirty="0">
                <a:solidFill>
                  <a:schemeClr val="bg1"/>
                </a:solidFill>
              </a:rPr>
              <a:t> </a:t>
            </a:r>
            <a:r>
              <a:rPr lang="ru-RU" sz="2000" b="1" dirty="0">
                <a:solidFill>
                  <a:schemeClr val="bg1"/>
                </a:solidFill>
              </a:rPr>
              <a:t>чел.</a:t>
            </a:r>
          </a:p>
          <a:p>
            <a:pPr lvl="0" algn="ctr">
              <a:defRPr/>
            </a:pPr>
            <a:r>
              <a:rPr lang="ru-RU" sz="2000" b="1" dirty="0">
                <a:solidFill>
                  <a:schemeClr val="bg1"/>
                </a:solidFill>
              </a:rPr>
              <a:t>временно зарегистрированы </a:t>
            </a:r>
          </a:p>
          <a:p>
            <a:pPr lvl="0" algn="ctr">
              <a:defRPr/>
            </a:pPr>
            <a:endParaRPr lang="ru-RU" sz="2800" b="1" dirty="0">
              <a:solidFill>
                <a:schemeClr val="bg1"/>
              </a:solidFill>
            </a:endParaRPr>
          </a:p>
        </p:txBody>
      </p:sp>
      <p:sp>
        <p:nvSpPr>
          <p:cNvPr id="64" name="TextBox 12 - 1"/>
          <p:cNvSpPr txBox="1"/>
          <p:nvPr/>
        </p:nvSpPr>
        <p:spPr>
          <a:xfrm>
            <a:off x="227440" y="4041598"/>
            <a:ext cx="2969663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kk-KZ" sz="2800" b="1" dirty="0">
                <a:solidFill>
                  <a:srgbClr val="FFFF00"/>
                </a:solidFill>
              </a:rPr>
              <a:t>604</a:t>
            </a:r>
            <a:endParaRPr lang="ru-RU" sz="2800" b="1" dirty="0">
              <a:solidFill>
                <a:srgbClr val="FFFF00"/>
              </a:solidFill>
            </a:endParaRPr>
          </a:p>
          <a:p>
            <a:pPr lvl="0" algn="ctr">
              <a:defRPr/>
            </a:pPr>
            <a:r>
              <a:rPr lang="ru-RU" sz="2000" b="1" i="1" dirty="0">
                <a:solidFill>
                  <a:schemeClr val="bg1"/>
                </a:solidFill>
              </a:rPr>
              <a:t>   Студенты 1 курса обучения </a:t>
            </a:r>
          </a:p>
          <a:p>
            <a:pPr lvl="0" algn="ctr">
              <a:defRPr/>
            </a:pPr>
            <a:r>
              <a:rPr lang="ru-RU" sz="2000" b="1" i="1" dirty="0">
                <a:solidFill>
                  <a:schemeClr val="bg1"/>
                </a:solidFill>
              </a:rPr>
              <a:t>(заселены в феврале и прожили до начало апреля, с введением карантина) 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6" name="TextBox 12 - 1"/>
          <p:cNvSpPr txBox="1"/>
          <p:nvPr/>
        </p:nvSpPr>
        <p:spPr>
          <a:xfrm>
            <a:off x="3151672" y="5159322"/>
            <a:ext cx="229745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kk-KZ" sz="2800" b="1" dirty="0">
                <a:solidFill>
                  <a:srgbClr val="FFFF00"/>
                </a:solidFill>
              </a:rPr>
              <a:t>45</a:t>
            </a:r>
            <a:r>
              <a:rPr lang="ru-RU" sz="2800" b="1" dirty="0">
                <a:solidFill>
                  <a:srgbClr val="FFFF00"/>
                </a:solidFill>
              </a:rPr>
              <a:t> </a:t>
            </a:r>
            <a:r>
              <a:rPr lang="kk-KZ" sz="2800" b="1" dirty="0">
                <a:solidFill>
                  <a:schemeClr val="bg1"/>
                </a:solidFill>
              </a:rPr>
              <a:t>  </a:t>
            </a:r>
          </a:p>
          <a:p>
            <a:pPr lvl="0" algn="ctr">
              <a:defRPr/>
            </a:pPr>
            <a:r>
              <a:rPr lang="ru-RU" sz="2000" b="1" i="1" dirty="0">
                <a:solidFill>
                  <a:schemeClr val="bg1"/>
                </a:solidFill>
              </a:rPr>
              <a:t>иностранные студенты</a:t>
            </a:r>
          </a:p>
          <a:p>
            <a:pPr lvl="0" algn="ctr">
              <a:defRPr/>
            </a:pPr>
            <a:r>
              <a:rPr lang="ru-RU" sz="2000" b="1" i="1" dirty="0">
                <a:solidFill>
                  <a:schemeClr val="bg1"/>
                </a:solidFill>
              </a:rPr>
              <a:t> 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74" name="Building5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5808695" y="1424503"/>
            <a:ext cx="663073" cy="630625"/>
          </a:xfrm>
          <a:custGeom>
            <a:avLst/>
            <a:gdLst>
              <a:gd name="T0" fmla="*/ 915 w 1250"/>
              <a:gd name="T1" fmla="*/ 250 h 1187"/>
              <a:gd name="T2" fmla="*/ 915 w 1250"/>
              <a:gd name="T3" fmla="*/ 1053 h 1187"/>
              <a:gd name="T4" fmla="*/ 848 w 1250"/>
              <a:gd name="T5" fmla="*/ 1053 h 1187"/>
              <a:gd name="T6" fmla="*/ 850 w 1250"/>
              <a:gd name="T7" fmla="*/ 0 h 1187"/>
              <a:gd name="T8" fmla="*/ 448 w 1250"/>
              <a:gd name="T9" fmla="*/ 0 h 1187"/>
              <a:gd name="T10" fmla="*/ 446 w 1250"/>
              <a:gd name="T11" fmla="*/ 1053 h 1187"/>
              <a:gd name="T12" fmla="*/ 379 w 1250"/>
              <a:gd name="T13" fmla="*/ 1053 h 1187"/>
              <a:gd name="T14" fmla="*/ 379 w 1250"/>
              <a:gd name="T15" fmla="*/ 361 h 1187"/>
              <a:gd name="T16" fmla="*/ 0 w 1250"/>
              <a:gd name="T17" fmla="*/ 361 h 1187"/>
              <a:gd name="T18" fmla="*/ 0 w 1250"/>
              <a:gd name="T19" fmla="*/ 1187 h 1187"/>
              <a:gd name="T20" fmla="*/ 1250 w 1250"/>
              <a:gd name="T21" fmla="*/ 1187 h 1187"/>
              <a:gd name="T22" fmla="*/ 1250 w 1250"/>
              <a:gd name="T23" fmla="*/ 250 h 1187"/>
              <a:gd name="T24" fmla="*/ 915 w 1250"/>
              <a:gd name="T25" fmla="*/ 250 h 1187"/>
              <a:gd name="T26" fmla="*/ 982 w 1250"/>
              <a:gd name="T27" fmla="*/ 339 h 1187"/>
              <a:gd name="T28" fmla="*/ 1183 w 1250"/>
              <a:gd name="T29" fmla="*/ 339 h 1187"/>
              <a:gd name="T30" fmla="*/ 1183 w 1250"/>
              <a:gd name="T31" fmla="*/ 584 h 1187"/>
              <a:gd name="T32" fmla="*/ 982 w 1250"/>
              <a:gd name="T33" fmla="*/ 584 h 1187"/>
              <a:gd name="T34" fmla="*/ 982 w 1250"/>
              <a:gd name="T35" fmla="*/ 339 h 1187"/>
              <a:gd name="T36" fmla="*/ 982 w 1250"/>
              <a:gd name="T37" fmla="*/ 674 h 1187"/>
              <a:gd name="T38" fmla="*/ 1183 w 1250"/>
              <a:gd name="T39" fmla="*/ 674 h 1187"/>
              <a:gd name="T40" fmla="*/ 1183 w 1250"/>
              <a:gd name="T41" fmla="*/ 919 h 1187"/>
              <a:gd name="T42" fmla="*/ 982 w 1250"/>
              <a:gd name="T43" fmla="*/ 919 h 1187"/>
              <a:gd name="T44" fmla="*/ 982 w 1250"/>
              <a:gd name="T45" fmla="*/ 674 h 1187"/>
              <a:gd name="T46" fmla="*/ 513 w 1250"/>
              <a:gd name="T47" fmla="*/ 71 h 1187"/>
              <a:gd name="T48" fmla="*/ 781 w 1250"/>
              <a:gd name="T49" fmla="*/ 71 h 1187"/>
              <a:gd name="T50" fmla="*/ 781 w 1250"/>
              <a:gd name="T51" fmla="*/ 183 h 1187"/>
              <a:gd name="T52" fmla="*/ 513 w 1250"/>
              <a:gd name="T53" fmla="*/ 183 h 1187"/>
              <a:gd name="T54" fmla="*/ 513 w 1250"/>
              <a:gd name="T55" fmla="*/ 71 h 1187"/>
              <a:gd name="T56" fmla="*/ 513 w 1250"/>
              <a:gd name="T57" fmla="*/ 294 h 1187"/>
              <a:gd name="T58" fmla="*/ 781 w 1250"/>
              <a:gd name="T59" fmla="*/ 294 h 1187"/>
              <a:gd name="T60" fmla="*/ 781 w 1250"/>
              <a:gd name="T61" fmla="*/ 406 h 1187"/>
              <a:gd name="T62" fmla="*/ 513 w 1250"/>
              <a:gd name="T63" fmla="*/ 406 h 1187"/>
              <a:gd name="T64" fmla="*/ 513 w 1250"/>
              <a:gd name="T65" fmla="*/ 294 h 1187"/>
              <a:gd name="T66" fmla="*/ 513 w 1250"/>
              <a:gd name="T67" fmla="*/ 517 h 1187"/>
              <a:gd name="T68" fmla="*/ 781 w 1250"/>
              <a:gd name="T69" fmla="*/ 517 h 1187"/>
              <a:gd name="T70" fmla="*/ 781 w 1250"/>
              <a:gd name="T71" fmla="*/ 629 h 1187"/>
              <a:gd name="T72" fmla="*/ 513 w 1250"/>
              <a:gd name="T73" fmla="*/ 629 h 1187"/>
              <a:gd name="T74" fmla="*/ 513 w 1250"/>
              <a:gd name="T75" fmla="*/ 517 h 1187"/>
              <a:gd name="T76" fmla="*/ 513 w 1250"/>
              <a:gd name="T77" fmla="*/ 741 h 1187"/>
              <a:gd name="T78" fmla="*/ 781 w 1250"/>
              <a:gd name="T79" fmla="*/ 741 h 1187"/>
              <a:gd name="T80" fmla="*/ 781 w 1250"/>
              <a:gd name="T81" fmla="*/ 852 h 1187"/>
              <a:gd name="T82" fmla="*/ 513 w 1250"/>
              <a:gd name="T83" fmla="*/ 852 h 1187"/>
              <a:gd name="T84" fmla="*/ 513 w 1250"/>
              <a:gd name="T85" fmla="*/ 741 h 1187"/>
              <a:gd name="T86" fmla="*/ 67 w 1250"/>
              <a:gd name="T87" fmla="*/ 450 h 1187"/>
              <a:gd name="T88" fmla="*/ 156 w 1250"/>
              <a:gd name="T89" fmla="*/ 450 h 1187"/>
              <a:gd name="T90" fmla="*/ 156 w 1250"/>
              <a:gd name="T91" fmla="*/ 607 h 1187"/>
              <a:gd name="T92" fmla="*/ 67 w 1250"/>
              <a:gd name="T93" fmla="*/ 607 h 1187"/>
              <a:gd name="T94" fmla="*/ 67 w 1250"/>
              <a:gd name="T95" fmla="*/ 450 h 1187"/>
              <a:gd name="T96" fmla="*/ 223 w 1250"/>
              <a:gd name="T97" fmla="*/ 450 h 1187"/>
              <a:gd name="T98" fmla="*/ 313 w 1250"/>
              <a:gd name="T99" fmla="*/ 450 h 1187"/>
              <a:gd name="T100" fmla="*/ 313 w 1250"/>
              <a:gd name="T101" fmla="*/ 607 h 1187"/>
              <a:gd name="T102" fmla="*/ 223 w 1250"/>
              <a:gd name="T103" fmla="*/ 607 h 1187"/>
              <a:gd name="T104" fmla="*/ 223 w 1250"/>
              <a:gd name="T105" fmla="*/ 450 h 1187"/>
              <a:gd name="T106" fmla="*/ 67 w 1250"/>
              <a:gd name="T107" fmla="*/ 718 h 1187"/>
              <a:gd name="T108" fmla="*/ 156 w 1250"/>
              <a:gd name="T109" fmla="*/ 718 h 1187"/>
              <a:gd name="T110" fmla="*/ 156 w 1250"/>
              <a:gd name="T111" fmla="*/ 875 h 1187"/>
              <a:gd name="T112" fmla="*/ 67 w 1250"/>
              <a:gd name="T113" fmla="*/ 875 h 1187"/>
              <a:gd name="T114" fmla="*/ 67 w 1250"/>
              <a:gd name="T115" fmla="*/ 718 h 1187"/>
              <a:gd name="T116" fmla="*/ 223 w 1250"/>
              <a:gd name="T117" fmla="*/ 718 h 1187"/>
              <a:gd name="T118" fmla="*/ 313 w 1250"/>
              <a:gd name="T119" fmla="*/ 718 h 1187"/>
              <a:gd name="T120" fmla="*/ 313 w 1250"/>
              <a:gd name="T121" fmla="*/ 875 h 1187"/>
              <a:gd name="T122" fmla="*/ 223 w 1250"/>
              <a:gd name="T123" fmla="*/ 875 h 1187"/>
              <a:gd name="T124" fmla="*/ 223 w 1250"/>
              <a:gd name="T125" fmla="*/ 718 h 1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50" h="1187">
                <a:moveTo>
                  <a:pt x="915" y="250"/>
                </a:moveTo>
                <a:lnTo>
                  <a:pt x="915" y="1053"/>
                </a:lnTo>
                <a:lnTo>
                  <a:pt x="848" y="1053"/>
                </a:lnTo>
                <a:lnTo>
                  <a:pt x="850" y="0"/>
                </a:lnTo>
                <a:lnTo>
                  <a:pt x="448" y="0"/>
                </a:lnTo>
                <a:lnTo>
                  <a:pt x="446" y="1053"/>
                </a:lnTo>
                <a:lnTo>
                  <a:pt x="379" y="1053"/>
                </a:lnTo>
                <a:lnTo>
                  <a:pt x="379" y="361"/>
                </a:lnTo>
                <a:lnTo>
                  <a:pt x="0" y="361"/>
                </a:lnTo>
                <a:lnTo>
                  <a:pt x="0" y="1187"/>
                </a:lnTo>
                <a:lnTo>
                  <a:pt x="1250" y="1187"/>
                </a:lnTo>
                <a:lnTo>
                  <a:pt x="1250" y="250"/>
                </a:lnTo>
                <a:lnTo>
                  <a:pt x="915" y="250"/>
                </a:lnTo>
                <a:close/>
                <a:moveTo>
                  <a:pt x="982" y="339"/>
                </a:moveTo>
                <a:lnTo>
                  <a:pt x="1183" y="339"/>
                </a:lnTo>
                <a:lnTo>
                  <a:pt x="1183" y="584"/>
                </a:lnTo>
                <a:lnTo>
                  <a:pt x="982" y="584"/>
                </a:lnTo>
                <a:lnTo>
                  <a:pt x="982" y="339"/>
                </a:lnTo>
                <a:close/>
                <a:moveTo>
                  <a:pt x="982" y="674"/>
                </a:moveTo>
                <a:lnTo>
                  <a:pt x="1183" y="674"/>
                </a:lnTo>
                <a:lnTo>
                  <a:pt x="1183" y="919"/>
                </a:lnTo>
                <a:lnTo>
                  <a:pt x="982" y="919"/>
                </a:lnTo>
                <a:lnTo>
                  <a:pt x="982" y="674"/>
                </a:lnTo>
                <a:close/>
                <a:moveTo>
                  <a:pt x="513" y="71"/>
                </a:moveTo>
                <a:lnTo>
                  <a:pt x="781" y="71"/>
                </a:lnTo>
                <a:lnTo>
                  <a:pt x="781" y="183"/>
                </a:lnTo>
                <a:lnTo>
                  <a:pt x="513" y="183"/>
                </a:lnTo>
                <a:lnTo>
                  <a:pt x="513" y="71"/>
                </a:lnTo>
                <a:close/>
                <a:moveTo>
                  <a:pt x="513" y="294"/>
                </a:moveTo>
                <a:lnTo>
                  <a:pt x="781" y="294"/>
                </a:lnTo>
                <a:lnTo>
                  <a:pt x="781" y="406"/>
                </a:lnTo>
                <a:lnTo>
                  <a:pt x="513" y="406"/>
                </a:lnTo>
                <a:lnTo>
                  <a:pt x="513" y="294"/>
                </a:lnTo>
                <a:close/>
                <a:moveTo>
                  <a:pt x="513" y="517"/>
                </a:moveTo>
                <a:lnTo>
                  <a:pt x="781" y="517"/>
                </a:lnTo>
                <a:lnTo>
                  <a:pt x="781" y="629"/>
                </a:lnTo>
                <a:lnTo>
                  <a:pt x="513" y="629"/>
                </a:lnTo>
                <a:lnTo>
                  <a:pt x="513" y="517"/>
                </a:lnTo>
                <a:close/>
                <a:moveTo>
                  <a:pt x="513" y="741"/>
                </a:moveTo>
                <a:lnTo>
                  <a:pt x="781" y="741"/>
                </a:lnTo>
                <a:lnTo>
                  <a:pt x="781" y="852"/>
                </a:lnTo>
                <a:lnTo>
                  <a:pt x="513" y="852"/>
                </a:lnTo>
                <a:lnTo>
                  <a:pt x="513" y="741"/>
                </a:lnTo>
                <a:close/>
                <a:moveTo>
                  <a:pt x="67" y="450"/>
                </a:moveTo>
                <a:lnTo>
                  <a:pt x="156" y="450"/>
                </a:lnTo>
                <a:lnTo>
                  <a:pt x="156" y="607"/>
                </a:lnTo>
                <a:lnTo>
                  <a:pt x="67" y="607"/>
                </a:lnTo>
                <a:lnTo>
                  <a:pt x="67" y="450"/>
                </a:lnTo>
                <a:close/>
                <a:moveTo>
                  <a:pt x="223" y="450"/>
                </a:moveTo>
                <a:lnTo>
                  <a:pt x="313" y="450"/>
                </a:lnTo>
                <a:lnTo>
                  <a:pt x="313" y="607"/>
                </a:lnTo>
                <a:lnTo>
                  <a:pt x="223" y="607"/>
                </a:lnTo>
                <a:lnTo>
                  <a:pt x="223" y="450"/>
                </a:lnTo>
                <a:close/>
                <a:moveTo>
                  <a:pt x="67" y="718"/>
                </a:moveTo>
                <a:lnTo>
                  <a:pt x="156" y="718"/>
                </a:lnTo>
                <a:lnTo>
                  <a:pt x="156" y="875"/>
                </a:lnTo>
                <a:lnTo>
                  <a:pt x="67" y="875"/>
                </a:lnTo>
                <a:lnTo>
                  <a:pt x="67" y="718"/>
                </a:lnTo>
                <a:close/>
                <a:moveTo>
                  <a:pt x="223" y="718"/>
                </a:moveTo>
                <a:lnTo>
                  <a:pt x="313" y="718"/>
                </a:lnTo>
                <a:lnTo>
                  <a:pt x="313" y="875"/>
                </a:lnTo>
                <a:lnTo>
                  <a:pt x="223" y="875"/>
                </a:lnTo>
                <a:lnTo>
                  <a:pt x="223" y="718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Заголовок 1"/>
          <p:cNvSpPr txBox="1">
            <a:spLocks/>
          </p:cNvSpPr>
          <p:nvPr/>
        </p:nvSpPr>
        <p:spPr>
          <a:xfrm>
            <a:off x="1398066" y="364816"/>
            <a:ext cx="915924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k-KZ" sz="3600" b="1" i="1" dirty="0">
                <a:solidFill>
                  <a:srgbClr val="00B0F0"/>
                </a:solidFill>
              </a:rPr>
              <a:t>Увеличение доли студентов, обеспеченных местами в общежитии </a:t>
            </a:r>
            <a:br>
              <a:rPr lang="en-US" sz="4000" kern="0" dirty="0">
                <a:solidFill>
                  <a:srgbClr val="7030A0"/>
                </a:solidFill>
                <a:latin typeface="Calibri"/>
              </a:rPr>
            </a:br>
            <a:endParaRPr lang="ru-RU" sz="3600" dirty="0">
              <a:solidFill>
                <a:srgbClr val="7030A0"/>
              </a:solidFill>
            </a:endParaRPr>
          </a:p>
        </p:txBody>
      </p:sp>
      <p:grpSp>
        <p:nvGrpSpPr>
          <p:cNvPr id="76" name="Man"/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2319174" y="1128152"/>
            <a:ext cx="1307850" cy="1307850"/>
            <a:chOff x="4084637" y="1484312"/>
            <a:chExt cx="825500" cy="825500"/>
          </a:xfrm>
        </p:grpSpPr>
        <p:grpSp>
          <p:nvGrpSpPr>
            <p:cNvPr id="77" name="Group 73"/>
            <p:cNvGrpSpPr/>
            <p:nvPr/>
          </p:nvGrpSpPr>
          <p:grpSpPr>
            <a:xfrm>
              <a:off x="4084637" y="1484312"/>
              <a:ext cx="825500" cy="825500"/>
              <a:chOff x="4084637" y="1484312"/>
              <a:chExt cx="825500" cy="825500"/>
            </a:xfrm>
          </p:grpSpPr>
          <p:sp>
            <p:nvSpPr>
              <p:cNvPr id="89" name="Oval 88"/>
              <p:cNvSpPr>
                <a:spLocks noChangeArrowheads="1"/>
              </p:cNvSpPr>
              <p:nvPr/>
            </p:nvSpPr>
            <p:spPr bwMode="auto">
              <a:xfrm>
                <a:off x="4084637" y="1484312"/>
                <a:ext cx="825500" cy="825500"/>
              </a:xfrm>
              <a:prstGeom prst="ellipse">
                <a:avLst/>
              </a:prstGeom>
              <a:solidFill>
                <a:srgbClr val="65B4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" name="Freeform 201"/>
              <p:cNvSpPr>
                <a:spLocks/>
              </p:cNvSpPr>
              <p:nvPr/>
            </p:nvSpPr>
            <p:spPr bwMode="auto">
              <a:xfrm>
                <a:off x="4316412" y="1698625"/>
                <a:ext cx="588963" cy="608013"/>
              </a:xfrm>
              <a:custGeom>
                <a:avLst/>
                <a:gdLst>
                  <a:gd name="T0" fmla="*/ 0 w 1372"/>
                  <a:gd name="T1" fmla="*/ 922 h 1413"/>
                  <a:gd name="T2" fmla="*/ 524 w 1372"/>
                  <a:gd name="T3" fmla="*/ 1413 h 1413"/>
                  <a:gd name="T4" fmla="*/ 1372 w 1372"/>
                  <a:gd name="T5" fmla="*/ 444 h 1413"/>
                  <a:gd name="T6" fmla="*/ 1372 w 1372"/>
                  <a:gd name="T7" fmla="*/ 430 h 1413"/>
                  <a:gd name="T8" fmla="*/ 686 w 1372"/>
                  <a:gd name="T9" fmla="*/ 0 h 1413"/>
                  <a:gd name="T10" fmla="*/ 470 w 1372"/>
                  <a:gd name="T11" fmla="*/ 531 h 1413"/>
                  <a:gd name="T12" fmla="*/ 0 w 1372"/>
                  <a:gd name="T13" fmla="*/ 922 h 1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72" h="1413">
                    <a:moveTo>
                      <a:pt x="0" y="922"/>
                    </a:moveTo>
                    <a:lnTo>
                      <a:pt x="524" y="1413"/>
                    </a:lnTo>
                    <a:cubicBezTo>
                      <a:pt x="1003" y="1350"/>
                      <a:pt x="1372" y="940"/>
                      <a:pt x="1372" y="444"/>
                    </a:cubicBezTo>
                    <a:cubicBezTo>
                      <a:pt x="1372" y="439"/>
                      <a:pt x="1372" y="435"/>
                      <a:pt x="1372" y="430"/>
                    </a:cubicBezTo>
                    <a:lnTo>
                      <a:pt x="686" y="0"/>
                    </a:lnTo>
                    <a:lnTo>
                      <a:pt x="470" y="531"/>
                    </a:lnTo>
                    <a:lnTo>
                      <a:pt x="0" y="922"/>
                    </a:lnTo>
                  </a:path>
                </a:pathLst>
              </a:custGeom>
              <a:solidFill>
                <a:srgbClr val="5694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1" name="Freeform 202"/>
              <p:cNvSpPr>
                <a:spLocks/>
              </p:cNvSpPr>
              <p:nvPr/>
            </p:nvSpPr>
            <p:spPr bwMode="auto">
              <a:xfrm>
                <a:off x="4403725" y="1927225"/>
                <a:ext cx="188913" cy="168275"/>
              </a:xfrm>
              <a:custGeom>
                <a:avLst/>
                <a:gdLst>
                  <a:gd name="T0" fmla="*/ 218 w 436"/>
                  <a:gd name="T1" fmla="*/ 392 h 392"/>
                  <a:gd name="T2" fmla="*/ 0 w 436"/>
                  <a:gd name="T3" fmla="*/ 142 h 392"/>
                  <a:gd name="T4" fmla="*/ 95 w 436"/>
                  <a:gd name="T5" fmla="*/ 7 h 392"/>
                  <a:gd name="T6" fmla="*/ 218 w 436"/>
                  <a:gd name="T7" fmla="*/ 0 h 392"/>
                  <a:gd name="T8" fmla="*/ 341 w 436"/>
                  <a:gd name="T9" fmla="*/ 7 h 392"/>
                  <a:gd name="T10" fmla="*/ 436 w 436"/>
                  <a:gd name="T11" fmla="*/ 142 h 392"/>
                  <a:gd name="T12" fmla="*/ 218 w 436"/>
                  <a:gd name="T13" fmla="*/ 392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6" h="392">
                    <a:moveTo>
                      <a:pt x="218" y="392"/>
                    </a:moveTo>
                    <a:cubicBezTo>
                      <a:pt x="127" y="353"/>
                      <a:pt x="15" y="286"/>
                      <a:pt x="0" y="142"/>
                    </a:cubicBezTo>
                    <a:cubicBezTo>
                      <a:pt x="51" y="122"/>
                      <a:pt x="80" y="69"/>
                      <a:pt x="95" y="7"/>
                    </a:cubicBezTo>
                    <a:cubicBezTo>
                      <a:pt x="133" y="3"/>
                      <a:pt x="175" y="0"/>
                      <a:pt x="218" y="0"/>
                    </a:cubicBezTo>
                    <a:cubicBezTo>
                      <a:pt x="261" y="0"/>
                      <a:pt x="302" y="3"/>
                      <a:pt x="341" y="7"/>
                    </a:cubicBezTo>
                    <a:cubicBezTo>
                      <a:pt x="355" y="69"/>
                      <a:pt x="384" y="122"/>
                      <a:pt x="436" y="142"/>
                    </a:cubicBezTo>
                    <a:cubicBezTo>
                      <a:pt x="421" y="286"/>
                      <a:pt x="308" y="353"/>
                      <a:pt x="218" y="392"/>
                    </a:cubicBezTo>
                    <a:close/>
                  </a:path>
                </a:pathLst>
              </a:custGeom>
              <a:solidFill>
                <a:srgbClr val="E5B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2" name="Freeform 203"/>
              <p:cNvSpPr>
                <a:spLocks/>
              </p:cNvSpPr>
              <p:nvPr/>
            </p:nvSpPr>
            <p:spPr bwMode="auto">
              <a:xfrm>
                <a:off x="4354512" y="1665287"/>
                <a:ext cx="288925" cy="285750"/>
              </a:xfrm>
              <a:custGeom>
                <a:avLst/>
                <a:gdLst>
                  <a:gd name="T0" fmla="*/ 608 w 671"/>
                  <a:gd name="T1" fmla="*/ 273 h 666"/>
                  <a:gd name="T2" fmla="*/ 572 w 671"/>
                  <a:gd name="T3" fmla="*/ 494 h 666"/>
                  <a:gd name="T4" fmla="*/ 336 w 671"/>
                  <a:gd name="T5" fmla="*/ 666 h 666"/>
                  <a:gd name="T6" fmla="*/ 99 w 671"/>
                  <a:gd name="T7" fmla="*/ 494 h 666"/>
                  <a:gd name="T8" fmla="*/ 63 w 671"/>
                  <a:gd name="T9" fmla="*/ 273 h 666"/>
                  <a:gd name="T10" fmla="*/ 336 w 671"/>
                  <a:gd name="T11" fmla="*/ 0 h 666"/>
                  <a:gd name="T12" fmla="*/ 608 w 671"/>
                  <a:gd name="T13" fmla="*/ 273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1" h="666">
                    <a:moveTo>
                      <a:pt x="608" y="273"/>
                    </a:moveTo>
                    <a:cubicBezTo>
                      <a:pt x="671" y="323"/>
                      <a:pt x="649" y="481"/>
                      <a:pt x="572" y="494"/>
                    </a:cubicBezTo>
                    <a:cubicBezTo>
                      <a:pt x="528" y="592"/>
                      <a:pt x="447" y="666"/>
                      <a:pt x="336" y="666"/>
                    </a:cubicBezTo>
                    <a:cubicBezTo>
                      <a:pt x="224" y="666"/>
                      <a:pt x="143" y="592"/>
                      <a:pt x="99" y="494"/>
                    </a:cubicBezTo>
                    <a:cubicBezTo>
                      <a:pt x="22" y="481"/>
                      <a:pt x="0" y="323"/>
                      <a:pt x="63" y="273"/>
                    </a:cubicBezTo>
                    <a:cubicBezTo>
                      <a:pt x="76" y="129"/>
                      <a:pt x="161" y="0"/>
                      <a:pt x="336" y="0"/>
                    </a:cubicBezTo>
                    <a:cubicBezTo>
                      <a:pt x="510" y="0"/>
                      <a:pt x="595" y="129"/>
                      <a:pt x="608" y="273"/>
                    </a:cubicBezTo>
                  </a:path>
                </a:pathLst>
              </a:custGeom>
              <a:solidFill>
                <a:srgbClr val="FCCD9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3" name="Freeform 204"/>
              <p:cNvSpPr>
                <a:spLocks/>
              </p:cNvSpPr>
              <p:nvPr/>
            </p:nvSpPr>
            <p:spPr bwMode="auto">
              <a:xfrm>
                <a:off x="4367212" y="1581150"/>
                <a:ext cx="261938" cy="246063"/>
              </a:xfrm>
              <a:custGeom>
                <a:avLst/>
                <a:gdLst>
                  <a:gd name="T0" fmla="*/ 87 w 611"/>
                  <a:gd name="T1" fmla="*/ 484 h 569"/>
                  <a:gd name="T2" fmla="*/ 70 w 611"/>
                  <a:gd name="T3" fmla="*/ 502 h 569"/>
                  <a:gd name="T4" fmla="*/ 37 w 611"/>
                  <a:gd name="T5" fmla="*/ 454 h 569"/>
                  <a:gd name="T6" fmla="*/ 1 w 611"/>
                  <a:gd name="T7" fmla="*/ 513 h 569"/>
                  <a:gd name="T8" fmla="*/ 32 w 611"/>
                  <a:gd name="T9" fmla="*/ 293 h 569"/>
                  <a:gd name="T10" fmla="*/ 582 w 611"/>
                  <a:gd name="T11" fmla="*/ 282 h 569"/>
                  <a:gd name="T12" fmla="*/ 607 w 611"/>
                  <a:gd name="T13" fmla="*/ 501 h 569"/>
                  <a:gd name="T14" fmla="*/ 574 w 611"/>
                  <a:gd name="T15" fmla="*/ 454 h 569"/>
                  <a:gd name="T16" fmla="*/ 541 w 611"/>
                  <a:gd name="T17" fmla="*/ 502 h 569"/>
                  <a:gd name="T18" fmla="*/ 526 w 611"/>
                  <a:gd name="T19" fmla="*/ 484 h 569"/>
                  <a:gd name="T20" fmla="*/ 87 w 611"/>
                  <a:gd name="T21" fmla="*/ 484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1" h="569">
                    <a:moveTo>
                      <a:pt x="87" y="484"/>
                    </a:moveTo>
                    <a:cubicBezTo>
                      <a:pt x="90" y="569"/>
                      <a:pt x="83" y="547"/>
                      <a:pt x="70" y="502"/>
                    </a:cubicBezTo>
                    <a:cubicBezTo>
                      <a:pt x="63" y="478"/>
                      <a:pt x="53" y="454"/>
                      <a:pt x="37" y="454"/>
                    </a:cubicBezTo>
                    <a:cubicBezTo>
                      <a:pt x="26" y="454"/>
                      <a:pt x="5" y="504"/>
                      <a:pt x="1" y="513"/>
                    </a:cubicBezTo>
                    <a:cubicBezTo>
                      <a:pt x="0" y="465"/>
                      <a:pt x="6" y="391"/>
                      <a:pt x="32" y="293"/>
                    </a:cubicBezTo>
                    <a:cubicBezTo>
                      <a:pt x="106" y="10"/>
                      <a:pt x="503" y="0"/>
                      <a:pt x="582" y="282"/>
                    </a:cubicBezTo>
                    <a:cubicBezTo>
                      <a:pt x="611" y="385"/>
                      <a:pt x="605" y="436"/>
                      <a:pt x="607" y="501"/>
                    </a:cubicBezTo>
                    <a:cubicBezTo>
                      <a:pt x="601" y="484"/>
                      <a:pt x="585" y="454"/>
                      <a:pt x="574" y="454"/>
                    </a:cubicBezTo>
                    <a:cubicBezTo>
                      <a:pt x="559" y="454"/>
                      <a:pt x="548" y="478"/>
                      <a:pt x="541" y="502"/>
                    </a:cubicBezTo>
                    <a:cubicBezTo>
                      <a:pt x="529" y="547"/>
                      <a:pt x="523" y="569"/>
                      <a:pt x="526" y="484"/>
                    </a:cubicBezTo>
                    <a:cubicBezTo>
                      <a:pt x="543" y="12"/>
                      <a:pt x="69" y="10"/>
                      <a:pt x="87" y="484"/>
                    </a:cubicBezTo>
                  </a:path>
                </a:pathLst>
              </a:custGeom>
              <a:solidFill>
                <a:srgbClr val="3121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8" name="Freeform 206"/>
            <p:cNvSpPr>
              <a:spLocks/>
            </p:cNvSpPr>
            <p:nvPr/>
          </p:nvSpPr>
          <p:spPr bwMode="auto">
            <a:xfrm>
              <a:off x="4384675" y="1614488"/>
              <a:ext cx="260350" cy="169863"/>
            </a:xfrm>
            <a:custGeom>
              <a:avLst/>
              <a:gdLst>
                <a:gd name="T0" fmla="*/ 46 w 605"/>
                <a:gd name="T1" fmla="*/ 397 h 397"/>
                <a:gd name="T2" fmla="*/ 73 w 605"/>
                <a:gd name="T3" fmla="*/ 246 h 397"/>
                <a:gd name="T4" fmla="*/ 172 w 605"/>
                <a:gd name="T5" fmla="*/ 209 h 397"/>
                <a:gd name="T6" fmla="*/ 272 w 605"/>
                <a:gd name="T7" fmla="*/ 223 h 397"/>
                <a:gd name="T8" fmla="*/ 372 w 605"/>
                <a:gd name="T9" fmla="*/ 209 h 397"/>
                <a:gd name="T10" fmla="*/ 456 w 605"/>
                <a:gd name="T11" fmla="*/ 241 h 397"/>
                <a:gd name="T12" fmla="*/ 489 w 605"/>
                <a:gd name="T13" fmla="*/ 396 h 397"/>
                <a:gd name="T14" fmla="*/ 266 w 605"/>
                <a:gd name="T15" fmla="*/ 0 h 397"/>
                <a:gd name="T16" fmla="*/ 46 w 605"/>
                <a:gd name="T17" fmla="*/ 397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5" h="397">
                  <a:moveTo>
                    <a:pt x="46" y="397"/>
                  </a:moveTo>
                  <a:cubicBezTo>
                    <a:pt x="45" y="336"/>
                    <a:pt x="52" y="284"/>
                    <a:pt x="73" y="246"/>
                  </a:cubicBezTo>
                  <a:cubicBezTo>
                    <a:pt x="93" y="209"/>
                    <a:pt x="114" y="190"/>
                    <a:pt x="172" y="209"/>
                  </a:cubicBezTo>
                  <a:cubicBezTo>
                    <a:pt x="200" y="218"/>
                    <a:pt x="235" y="223"/>
                    <a:pt x="272" y="223"/>
                  </a:cubicBezTo>
                  <a:cubicBezTo>
                    <a:pt x="309" y="223"/>
                    <a:pt x="343" y="218"/>
                    <a:pt x="372" y="209"/>
                  </a:cubicBezTo>
                  <a:cubicBezTo>
                    <a:pt x="423" y="193"/>
                    <a:pt x="436" y="208"/>
                    <a:pt x="456" y="241"/>
                  </a:cubicBezTo>
                  <a:cubicBezTo>
                    <a:pt x="481" y="281"/>
                    <a:pt x="490" y="335"/>
                    <a:pt x="489" y="396"/>
                  </a:cubicBezTo>
                  <a:cubicBezTo>
                    <a:pt x="605" y="226"/>
                    <a:pt x="483" y="1"/>
                    <a:pt x="266" y="0"/>
                  </a:cubicBezTo>
                  <a:cubicBezTo>
                    <a:pt x="49" y="0"/>
                    <a:pt x="0" y="220"/>
                    <a:pt x="46" y="397"/>
                  </a:cubicBezTo>
                </a:path>
              </a:pathLst>
            </a:custGeom>
            <a:solidFill>
              <a:srgbClr val="3121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207"/>
            <p:cNvSpPr>
              <a:spLocks/>
            </p:cNvSpPr>
            <p:nvPr/>
          </p:nvSpPr>
          <p:spPr bwMode="auto">
            <a:xfrm>
              <a:off x="4294188" y="1965325"/>
              <a:ext cx="409575" cy="176213"/>
            </a:xfrm>
            <a:custGeom>
              <a:avLst/>
              <a:gdLst>
                <a:gd name="T0" fmla="*/ 910 w 953"/>
                <a:gd name="T1" fmla="*/ 26 h 412"/>
                <a:gd name="T2" fmla="*/ 477 w 953"/>
                <a:gd name="T3" fmla="*/ 0 h 412"/>
                <a:gd name="T4" fmla="*/ 42 w 953"/>
                <a:gd name="T5" fmla="*/ 26 h 412"/>
                <a:gd name="T6" fmla="*/ 0 w 953"/>
                <a:gd name="T7" fmla="*/ 68 h 412"/>
                <a:gd name="T8" fmla="*/ 0 w 953"/>
                <a:gd name="T9" fmla="*/ 294 h 412"/>
                <a:gd name="T10" fmla="*/ 468 w 953"/>
                <a:gd name="T11" fmla="*/ 387 h 412"/>
                <a:gd name="T12" fmla="*/ 953 w 953"/>
                <a:gd name="T13" fmla="*/ 288 h 412"/>
                <a:gd name="T14" fmla="*/ 953 w 953"/>
                <a:gd name="T15" fmla="*/ 68 h 412"/>
                <a:gd name="T16" fmla="*/ 910 w 953"/>
                <a:gd name="T17" fmla="*/ 26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3" h="412">
                  <a:moveTo>
                    <a:pt x="910" y="26"/>
                  </a:moveTo>
                  <a:lnTo>
                    <a:pt x="477" y="0"/>
                  </a:lnTo>
                  <a:lnTo>
                    <a:pt x="42" y="26"/>
                  </a:lnTo>
                  <a:cubicBezTo>
                    <a:pt x="19" y="26"/>
                    <a:pt x="0" y="45"/>
                    <a:pt x="0" y="68"/>
                  </a:cubicBezTo>
                  <a:lnTo>
                    <a:pt x="0" y="294"/>
                  </a:lnTo>
                  <a:cubicBezTo>
                    <a:pt x="123" y="408"/>
                    <a:pt x="287" y="387"/>
                    <a:pt x="468" y="387"/>
                  </a:cubicBezTo>
                  <a:cubicBezTo>
                    <a:pt x="657" y="387"/>
                    <a:pt x="829" y="412"/>
                    <a:pt x="953" y="288"/>
                  </a:cubicBezTo>
                  <a:lnTo>
                    <a:pt x="953" y="68"/>
                  </a:lnTo>
                  <a:cubicBezTo>
                    <a:pt x="953" y="45"/>
                    <a:pt x="934" y="26"/>
                    <a:pt x="910" y="26"/>
                  </a:cubicBezTo>
                  <a:close/>
                </a:path>
              </a:pathLst>
            </a:custGeom>
            <a:solidFill>
              <a:srgbClr val="F09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reeform 208"/>
            <p:cNvSpPr>
              <a:spLocks/>
            </p:cNvSpPr>
            <p:nvPr/>
          </p:nvSpPr>
          <p:spPr bwMode="auto">
            <a:xfrm>
              <a:off x="4421188" y="1963738"/>
              <a:ext cx="147638" cy="41275"/>
            </a:xfrm>
            <a:custGeom>
              <a:avLst/>
              <a:gdLst>
                <a:gd name="T0" fmla="*/ 0 w 93"/>
                <a:gd name="T1" fmla="*/ 3 h 26"/>
                <a:gd name="T2" fmla="*/ 46 w 93"/>
                <a:gd name="T3" fmla="*/ 26 h 26"/>
                <a:gd name="T4" fmla="*/ 93 w 93"/>
                <a:gd name="T5" fmla="*/ 3 h 26"/>
                <a:gd name="T6" fmla="*/ 47 w 93"/>
                <a:gd name="T7" fmla="*/ 0 h 26"/>
                <a:gd name="T8" fmla="*/ 0 w 93"/>
                <a:gd name="T9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26">
                  <a:moveTo>
                    <a:pt x="0" y="3"/>
                  </a:moveTo>
                  <a:lnTo>
                    <a:pt x="46" y="26"/>
                  </a:lnTo>
                  <a:lnTo>
                    <a:pt x="93" y="3"/>
                  </a:lnTo>
                  <a:lnTo>
                    <a:pt x="47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E5B0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209"/>
            <p:cNvSpPr>
              <a:spLocks/>
            </p:cNvSpPr>
            <p:nvPr/>
          </p:nvSpPr>
          <p:spPr bwMode="auto">
            <a:xfrm>
              <a:off x="4421188" y="1968500"/>
              <a:ext cx="147638" cy="165100"/>
            </a:xfrm>
            <a:custGeom>
              <a:avLst/>
              <a:gdLst>
                <a:gd name="T0" fmla="*/ 169 w 342"/>
                <a:gd name="T1" fmla="*/ 82 h 384"/>
                <a:gd name="T2" fmla="*/ 7 w 342"/>
                <a:gd name="T3" fmla="*/ 1 h 384"/>
                <a:gd name="T4" fmla="*/ 0 w 342"/>
                <a:gd name="T5" fmla="*/ 1 h 384"/>
                <a:gd name="T6" fmla="*/ 42 w 342"/>
                <a:gd name="T7" fmla="*/ 375 h 384"/>
                <a:gd name="T8" fmla="*/ 171 w 342"/>
                <a:gd name="T9" fmla="*/ 377 h 384"/>
                <a:gd name="T10" fmla="*/ 296 w 342"/>
                <a:gd name="T11" fmla="*/ 376 h 384"/>
                <a:gd name="T12" fmla="*/ 342 w 342"/>
                <a:gd name="T13" fmla="*/ 1 h 384"/>
                <a:gd name="T14" fmla="*/ 335 w 342"/>
                <a:gd name="T15" fmla="*/ 0 h 384"/>
                <a:gd name="T16" fmla="*/ 169 w 342"/>
                <a:gd name="T17" fmla="*/ 82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2" h="384">
                  <a:moveTo>
                    <a:pt x="169" y="82"/>
                  </a:moveTo>
                  <a:lnTo>
                    <a:pt x="7" y="1"/>
                  </a:lnTo>
                  <a:lnTo>
                    <a:pt x="0" y="1"/>
                  </a:lnTo>
                  <a:lnTo>
                    <a:pt x="42" y="375"/>
                  </a:lnTo>
                  <a:cubicBezTo>
                    <a:pt x="84" y="383"/>
                    <a:pt x="127" y="377"/>
                    <a:pt x="171" y="377"/>
                  </a:cubicBezTo>
                  <a:cubicBezTo>
                    <a:pt x="214" y="377"/>
                    <a:pt x="256" y="384"/>
                    <a:pt x="296" y="376"/>
                  </a:cubicBezTo>
                  <a:lnTo>
                    <a:pt x="342" y="1"/>
                  </a:lnTo>
                  <a:lnTo>
                    <a:pt x="335" y="0"/>
                  </a:lnTo>
                  <a:lnTo>
                    <a:pt x="169" y="82"/>
                  </a:lnTo>
                </a:path>
              </a:pathLst>
            </a:custGeom>
            <a:solidFill>
              <a:srgbClr val="A8D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210"/>
            <p:cNvSpPr>
              <a:spLocks/>
            </p:cNvSpPr>
            <p:nvPr/>
          </p:nvSpPr>
          <p:spPr bwMode="auto">
            <a:xfrm>
              <a:off x="4421188" y="1971675"/>
              <a:ext cx="147638" cy="58738"/>
            </a:xfrm>
            <a:custGeom>
              <a:avLst/>
              <a:gdLst>
                <a:gd name="T0" fmla="*/ 46 w 93"/>
                <a:gd name="T1" fmla="*/ 21 h 37"/>
                <a:gd name="T2" fmla="*/ 5 w 93"/>
                <a:gd name="T3" fmla="*/ 0 h 37"/>
                <a:gd name="T4" fmla="*/ 0 w 93"/>
                <a:gd name="T5" fmla="*/ 0 h 37"/>
                <a:gd name="T6" fmla="*/ 46 w 93"/>
                <a:gd name="T7" fmla="*/ 37 h 37"/>
                <a:gd name="T8" fmla="*/ 93 w 93"/>
                <a:gd name="T9" fmla="*/ 0 h 37"/>
                <a:gd name="T10" fmla="*/ 89 w 93"/>
                <a:gd name="T11" fmla="*/ 0 h 37"/>
                <a:gd name="T12" fmla="*/ 46 w 93"/>
                <a:gd name="T13" fmla="*/ 2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3" h="37">
                  <a:moveTo>
                    <a:pt x="46" y="2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46" y="37"/>
                  </a:lnTo>
                  <a:lnTo>
                    <a:pt x="93" y="0"/>
                  </a:lnTo>
                  <a:lnTo>
                    <a:pt x="89" y="0"/>
                  </a:lnTo>
                  <a:lnTo>
                    <a:pt x="46" y="21"/>
                  </a:lnTo>
                  <a:close/>
                </a:path>
              </a:pathLst>
            </a:custGeom>
            <a:solidFill>
              <a:srgbClr val="C7E8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Rectangle 211"/>
            <p:cNvSpPr>
              <a:spLocks noChangeArrowheads="1"/>
            </p:cNvSpPr>
            <p:nvPr/>
          </p:nvSpPr>
          <p:spPr bwMode="auto">
            <a:xfrm>
              <a:off x="4397375" y="1776413"/>
              <a:ext cx="82550" cy="49213"/>
            </a:xfrm>
            <a:prstGeom prst="rect">
              <a:avLst/>
            </a:prstGeom>
            <a:solidFill>
              <a:srgbClr val="E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Rectangle 212"/>
            <p:cNvSpPr>
              <a:spLocks noChangeArrowheads="1"/>
            </p:cNvSpPr>
            <p:nvPr/>
          </p:nvSpPr>
          <p:spPr bwMode="auto">
            <a:xfrm>
              <a:off x="4511675" y="1774825"/>
              <a:ext cx="80963" cy="50800"/>
            </a:xfrm>
            <a:prstGeom prst="rect">
              <a:avLst/>
            </a:prstGeom>
            <a:solidFill>
              <a:srgbClr val="E4F6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Freeform 213"/>
            <p:cNvSpPr>
              <a:spLocks noEditPoints="1"/>
            </p:cNvSpPr>
            <p:nvPr/>
          </p:nvSpPr>
          <p:spPr bwMode="auto">
            <a:xfrm>
              <a:off x="4395788" y="1771650"/>
              <a:ext cx="103188" cy="57150"/>
            </a:xfrm>
            <a:custGeom>
              <a:avLst/>
              <a:gdLst>
                <a:gd name="T0" fmla="*/ 198 w 239"/>
                <a:gd name="T1" fmla="*/ 82 h 134"/>
                <a:gd name="T2" fmla="*/ 177 w 239"/>
                <a:gd name="T3" fmla="*/ 112 h 134"/>
                <a:gd name="T4" fmla="*/ 53 w 239"/>
                <a:gd name="T5" fmla="*/ 112 h 134"/>
                <a:gd name="T6" fmla="*/ 31 w 239"/>
                <a:gd name="T7" fmla="*/ 82 h 134"/>
                <a:gd name="T8" fmla="*/ 31 w 239"/>
                <a:gd name="T9" fmla="*/ 52 h 134"/>
                <a:gd name="T10" fmla="*/ 53 w 239"/>
                <a:gd name="T11" fmla="*/ 21 h 134"/>
                <a:gd name="T12" fmla="*/ 177 w 239"/>
                <a:gd name="T13" fmla="*/ 21 h 134"/>
                <a:gd name="T14" fmla="*/ 198 w 239"/>
                <a:gd name="T15" fmla="*/ 52 h 134"/>
                <a:gd name="T16" fmla="*/ 198 w 239"/>
                <a:gd name="T17" fmla="*/ 82 h 134"/>
                <a:gd name="T18" fmla="*/ 21 w 239"/>
                <a:gd name="T19" fmla="*/ 1 h 134"/>
                <a:gd name="T20" fmla="*/ 0 w 239"/>
                <a:gd name="T21" fmla="*/ 11 h 134"/>
                <a:gd name="T22" fmla="*/ 0 w 239"/>
                <a:gd name="T23" fmla="*/ 123 h 134"/>
                <a:gd name="T24" fmla="*/ 26 w 239"/>
                <a:gd name="T25" fmla="*/ 132 h 134"/>
                <a:gd name="T26" fmla="*/ 194 w 239"/>
                <a:gd name="T27" fmla="*/ 132 h 134"/>
                <a:gd name="T28" fmla="*/ 239 w 239"/>
                <a:gd name="T29" fmla="*/ 95 h 134"/>
                <a:gd name="T30" fmla="*/ 239 w 239"/>
                <a:gd name="T31" fmla="*/ 1 h 134"/>
                <a:gd name="T32" fmla="*/ 21 w 239"/>
                <a:gd name="T33" fmla="*/ 1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9" h="134">
                  <a:moveTo>
                    <a:pt x="198" y="82"/>
                  </a:moveTo>
                  <a:cubicBezTo>
                    <a:pt x="198" y="98"/>
                    <a:pt x="194" y="112"/>
                    <a:pt x="177" y="112"/>
                  </a:cubicBezTo>
                  <a:lnTo>
                    <a:pt x="53" y="112"/>
                  </a:lnTo>
                  <a:cubicBezTo>
                    <a:pt x="35" y="112"/>
                    <a:pt x="31" y="98"/>
                    <a:pt x="31" y="82"/>
                  </a:cubicBezTo>
                  <a:lnTo>
                    <a:pt x="31" y="52"/>
                  </a:lnTo>
                  <a:cubicBezTo>
                    <a:pt x="31" y="35"/>
                    <a:pt x="35" y="21"/>
                    <a:pt x="53" y="21"/>
                  </a:cubicBezTo>
                  <a:lnTo>
                    <a:pt x="177" y="21"/>
                  </a:lnTo>
                  <a:cubicBezTo>
                    <a:pt x="194" y="21"/>
                    <a:pt x="198" y="35"/>
                    <a:pt x="198" y="52"/>
                  </a:cubicBezTo>
                  <a:lnTo>
                    <a:pt x="198" y="82"/>
                  </a:lnTo>
                  <a:close/>
                  <a:moveTo>
                    <a:pt x="21" y="1"/>
                  </a:moveTo>
                  <a:cubicBezTo>
                    <a:pt x="9" y="1"/>
                    <a:pt x="0" y="0"/>
                    <a:pt x="0" y="11"/>
                  </a:cubicBezTo>
                  <a:lnTo>
                    <a:pt x="0" y="123"/>
                  </a:lnTo>
                  <a:cubicBezTo>
                    <a:pt x="0" y="134"/>
                    <a:pt x="14" y="132"/>
                    <a:pt x="26" y="132"/>
                  </a:cubicBezTo>
                  <a:lnTo>
                    <a:pt x="194" y="132"/>
                  </a:lnTo>
                  <a:cubicBezTo>
                    <a:pt x="210" y="132"/>
                    <a:pt x="224" y="98"/>
                    <a:pt x="239" y="95"/>
                  </a:cubicBezTo>
                  <a:lnTo>
                    <a:pt x="239" y="1"/>
                  </a:lnTo>
                  <a:lnTo>
                    <a:pt x="21" y="1"/>
                  </a:lnTo>
                  <a:close/>
                </a:path>
              </a:pathLst>
            </a:custGeom>
            <a:solidFill>
              <a:srgbClr val="5966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Freeform 214"/>
            <p:cNvSpPr>
              <a:spLocks noEditPoints="1"/>
            </p:cNvSpPr>
            <p:nvPr/>
          </p:nvSpPr>
          <p:spPr bwMode="auto">
            <a:xfrm>
              <a:off x="4498975" y="1771650"/>
              <a:ext cx="98425" cy="57150"/>
            </a:xfrm>
            <a:custGeom>
              <a:avLst/>
              <a:gdLst>
                <a:gd name="T0" fmla="*/ 201 w 232"/>
                <a:gd name="T1" fmla="*/ 82 h 134"/>
                <a:gd name="T2" fmla="*/ 180 w 232"/>
                <a:gd name="T3" fmla="*/ 112 h 134"/>
                <a:gd name="T4" fmla="*/ 55 w 232"/>
                <a:gd name="T5" fmla="*/ 112 h 134"/>
                <a:gd name="T6" fmla="*/ 34 w 232"/>
                <a:gd name="T7" fmla="*/ 82 h 134"/>
                <a:gd name="T8" fmla="*/ 34 w 232"/>
                <a:gd name="T9" fmla="*/ 52 h 134"/>
                <a:gd name="T10" fmla="*/ 55 w 232"/>
                <a:gd name="T11" fmla="*/ 21 h 134"/>
                <a:gd name="T12" fmla="*/ 180 w 232"/>
                <a:gd name="T13" fmla="*/ 21 h 134"/>
                <a:gd name="T14" fmla="*/ 201 w 232"/>
                <a:gd name="T15" fmla="*/ 52 h 134"/>
                <a:gd name="T16" fmla="*/ 201 w 232"/>
                <a:gd name="T17" fmla="*/ 82 h 134"/>
                <a:gd name="T18" fmla="*/ 211 w 232"/>
                <a:gd name="T19" fmla="*/ 1 h 134"/>
                <a:gd name="T20" fmla="*/ 0 w 232"/>
                <a:gd name="T21" fmla="*/ 1 h 134"/>
                <a:gd name="T22" fmla="*/ 0 w 232"/>
                <a:gd name="T23" fmla="*/ 95 h 134"/>
                <a:gd name="T24" fmla="*/ 2 w 232"/>
                <a:gd name="T25" fmla="*/ 95 h 134"/>
                <a:gd name="T26" fmla="*/ 40 w 232"/>
                <a:gd name="T27" fmla="*/ 132 h 134"/>
                <a:gd name="T28" fmla="*/ 217 w 232"/>
                <a:gd name="T29" fmla="*/ 132 h 134"/>
                <a:gd name="T30" fmla="*/ 232 w 232"/>
                <a:gd name="T31" fmla="*/ 123 h 134"/>
                <a:gd name="T32" fmla="*/ 232 w 232"/>
                <a:gd name="T33" fmla="*/ 11 h 134"/>
                <a:gd name="T34" fmla="*/ 211 w 232"/>
                <a:gd name="T35" fmla="*/ 1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32" h="134">
                  <a:moveTo>
                    <a:pt x="201" y="82"/>
                  </a:moveTo>
                  <a:cubicBezTo>
                    <a:pt x="201" y="98"/>
                    <a:pt x="197" y="112"/>
                    <a:pt x="180" y="112"/>
                  </a:cubicBezTo>
                  <a:lnTo>
                    <a:pt x="55" y="112"/>
                  </a:lnTo>
                  <a:cubicBezTo>
                    <a:pt x="38" y="112"/>
                    <a:pt x="34" y="98"/>
                    <a:pt x="34" y="82"/>
                  </a:cubicBezTo>
                  <a:lnTo>
                    <a:pt x="34" y="52"/>
                  </a:lnTo>
                  <a:cubicBezTo>
                    <a:pt x="34" y="35"/>
                    <a:pt x="38" y="21"/>
                    <a:pt x="55" y="21"/>
                  </a:cubicBezTo>
                  <a:lnTo>
                    <a:pt x="180" y="21"/>
                  </a:lnTo>
                  <a:cubicBezTo>
                    <a:pt x="197" y="21"/>
                    <a:pt x="201" y="35"/>
                    <a:pt x="201" y="52"/>
                  </a:cubicBezTo>
                  <a:lnTo>
                    <a:pt x="201" y="82"/>
                  </a:lnTo>
                  <a:close/>
                  <a:moveTo>
                    <a:pt x="211" y="1"/>
                  </a:moveTo>
                  <a:lnTo>
                    <a:pt x="0" y="1"/>
                  </a:lnTo>
                  <a:lnTo>
                    <a:pt x="0" y="95"/>
                  </a:lnTo>
                  <a:lnTo>
                    <a:pt x="2" y="95"/>
                  </a:lnTo>
                  <a:cubicBezTo>
                    <a:pt x="16" y="95"/>
                    <a:pt x="26" y="132"/>
                    <a:pt x="40" y="132"/>
                  </a:cubicBezTo>
                  <a:lnTo>
                    <a:pt x="217" y="132"/>
                  </a:lnTo>
                  <a:cubicBezTo>
                    <a:pt x="228" y="132"/>
                    <a:pt x="232" y="134"/>
                    <a:pt x="232" y="123"/>
                  </a:cubicBezTo>
                  <a:lnTo>
                    <a:pt x="232" y="11"/>
                  </a:lnTo>
                  <a:cubicBezTo>
                    <a:pt x="232" y="0"/>
                    <a:pt x="223" y="1"/>
                    <a:pt x="211" y="1"/>
                  </a:cubicBezTo>
                </a:path>
              </a:pathLst>
            </a:custGeom>
            <a:solidFill>
              <a:srgbClr val="5966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Freeform 215"/>
            <p:cNvSpPr>
              <a:spLocks/>
            </p:cNvSpPr>
            <p:nvPr/>
          </p:nvSpPr>
          <p:spPr bwMode="auto">
            <a:xfrm>
              <a:off x="4475163" y="1997075"/>
              <a:ext cx="42863" cy="168275"/>
            </a:xfrm>
            <a:custGeom>
              <a:avLst/>
              <a:gdLst>
                <a:gd name="T0" fmla="*/ 27 w 27"/>
                <a:gd name="T1" fmla="*/ 85 h 106"/>
                <a:gd name="T2" fmla="*/ 13 w 27"/>
                <a:gd name="T3" fmla="*/ 106 h 106"/>
                <a:gd name="T4" fmla="*/ 0 w 27"/>
                <a:gd name="T5" fmla="*/ 84 h 106"/>
                <a:gd name="T6" fmla="*/ 11 w 27"/>
                <a:gd name="T7" fmla="*/ 17 h 106"/>
                <a:gd name="T8" fmla="*/ 3 w 27"/>
                <a:gd name="T9" fmla="*/ 0 h 106"/>
                <a:gd name="T10" fmla="*/ 13 w 27"/>
                <a:gd name="T11" fmla="*/ 2 h 106"/>
                <a:gd name="T12" fmla="*/ 22 w 27"/>
                <a:gd name="T13" fmla="*/ 0 h 106"/>
                <a:gd name="T14" fmla="*/ 14 w 27"/>
                <a:gd name="T15" fmla="*/ 18 h 106"/>
                <a:gd name="T16" fmla="*/ 27 w 27"/>
                <a:gd name="T17" fmla="*/ 8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06">
                  <a:moveTo>
                    <a:pt x="27" y="85"/>
                  </a:moveTo>
                  <a:lnTo>
                    <a:pt x="13" y="106"/>
                  </a:lnTo>
                  <a:lnTo>
                    <a:pt x="0" y="84"/>
                  </a:lnTo>
                  <a:lnTo>
                    <a:pt x="11" y="17"/>
                  </a:lnTo>
                  <a:lnTo>
                    <a:pt x="3" y="0"/>
                  </a:lnTo>
                  <a:lnTo>
                    <a:pt x="13" y="2"/>
                  </a:lnTo>
                  <a:lnTo>
                    <a:pt x="22" y="0"/>
                  </a:lnTo>
                  <a:lnTo>
                    <a:pt x="14" y="18"/>
                  </a:lnTo>
                  <a:lnTo>
                    <a:pt x="27" y="85"/>
                  </a:lnTo>
                  <a:close/>
                </a:path>
              </a:pathLst>
            </a:custGeom>
            <a:solidFill>
              <a:srgbClr val="3B53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Freeform 216"/>
            <p:cNvSpPr>
              <a:spLocks/>
            </p:cNvSpPr>
            <p:nvPr/>
          </p:nvSpPr>
          <p:spPr bwMode="auto">
            <a:xfrm>
              <a:off x="4340225" y="1604963"/>
              <a:ext cx="269875" cy="138113"/>
            </a:xfrm>
            <a:custGeom>
              <a:avLst/>
              <a:gdLst>
                <a:gd name="T0" fmla="*/ 427 w 631"/>
                <a:gd name="T1" fmla="*/ 264 h 321"/>
                <a:gd name="T2" fmla="*/ 487 w 631"/>
                <a:gd name="T3" fmla="*/ 221 h 321"/>
                <a:gd name="T4" fmla="*/ 581 w 631"/>
                <a:gd name="T5" fmla="*/ 321 h 321"/>
                <a:gd name="T6" fmla="*/ 631 w 631"/>
                <a:gd name="T7" fmla="*/ 218 h 321"/>
                <a:gd name="T8" fmla="*/ 526 w 631"/>
                <a:gd name="T9" fmla="*/ 62 h 321"/>
                <a:gd name="T10" fmla="*/ 510 w 631"/>
                <a:gd name="T11" fmla="*/ 65 h 321"/>
                <a:gd name="T12" fmla="*/ 368 w 631"/>
                <a:gd name="T13" fmla="*/ 0 h 321"/>
                <a:gd name="T14" fmla="*/ 137 w 631"/>
                <a:gd name="T15" fmla="*/ 89 h 321"/>
                <a:gd name="T16" fmla="*/ 0 w 631"/>
                <a:gd name="T17" fmla="*/ 90 h 321"/>
                <a:gd name="T18" fmla="*/ 135 w 631"/>
                <a:gd name="T19" fmla="*/ 260 h 321"/>
                <a:gd name="T20" fmla="*/ 333 w 631"/>
                <a:gd name="T21" fmla="*/ 290 h 321"/>
                <a:gd name="T22" fmla="*/ 427 w 631"/>
                <a:gd name="T23" fmla="*/ 264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1" h="321">
                  <a:moveTo>
                    <a:pt x="427" y="264"/>
                  </a:moveTo>
                  <a:cubicBezTo>
                    <a:pt x="446" y="253"/>
                    <a:pt x="467" y="259"/>
                    <a:pt x="487" y="221"/>
                  </a:cubicBezTo>
                  <a:cubicBezTo>
                    <a:pt x="509" y="178"/>
                    <a:pt x="564" y="261"/>
                    <a:pt x="581" y="321"/>
                  </a:cubicBezTo>
                  <a:cubicBezTo>
                    <a:pt x="596" y="294"/>
                    <a:pt x="631" y="258"/>
                    <a:pt x="631" y="218"/>
                  </a:cubicBezTo>
                  <a:cubicBezTo>
                    <a:pt x="631" y="132"/>
                    <a:pt x="580" y="62"/>
                    <a:pt x="526" y="62"/>
                  </a:cubicBezTo>
                  <a:cubicBezTo>
                    <a:pt x="520" y="62"/>
                    <a:pt x="515" y="63"/>
                    <a:pt x="510" y="65"/>
                  </a:cubicBezTo>
                  <a:cubicBezTo>
                    <a:pt x="487" y="27"/>
                    <a:pt x="432" y="0"/>
                    <a:pt x="368" y="0"/>
                  </a:cubicBezTo>
                  <a:cubicBezTo>
                    <a:pt x="284" y="0"/>
                    <a:pt x="241" y="90"/>
                    <a:pt x="137" y="89"/>
                  </a:cubicBezTo>
                  <a:cubicBezTo>
                    <a:pt x="40" y="87"/>
                    <a:pt x="0" y="90"/>
                    <a:pt x="0" y="90"/>
                  </a:cubicBezTo>
                  <a:cubicBezTo>
                    <a:pt x="0" y="90"/>
                    <a:pt x="35" y="204"/>
                    <a:pt x="135" y="260"/>
                  </a:cubicBezTo>
                  <a:cubicBezTo>
                    <a:pt x="166" y="278"/>
                    <a:pt x="284" y="293"/>
                    <a:pt x="333" y="290"/>
                  </a:cubicBezTo>
                  <a:cubicBezTo>
                    <a:pt x="385" y="287"/>
                    <a:pt x="427" y="264"/>
                    <a:pt x="427" y="264"/>
                  </a:cubicBezTo>
                </a:path>
              </a:pathLst>
            </a:custGeom>
            <a:solidFill>
              <a:srgbClr val="3121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94" name="Globe"/>
          <p:cNvGrpSpPr>
            <a:grpSpLocks noChangeAspect="1"/>
          </p:cNvGrpSpPr>
          <p:nvPr>
            <p:custDataLst>
              <p:tags r:id="rId10"/>
            </p:custDataLst>
          </p:nvPr>
        </p:nvGrpSpPr>
        <p:grpSpPr>
          <a:xfrm>
            <a:off x="4345966" y="3778961"/>
            <a:ext cx="1261558" cy="1261558"/>
            <a:chOff x="1857376" y="4640263"/>
            <a:chExt cx="354013" cy="354013"/>
          </a:xfrm>
        </p:grpSpPr>
        <p:sp>
          <p:nvSpPr>
            <p:cNvPr id="95" name="Oval 506"/>
            <p:cNvSpPr>
              <a:spLocks noChangeArrowheads="1"/>
            </p:cNvSpPr>
            <p:nvPr/>
          </p:nvSpPr>
          <p:spPr bwMode="auto">
            <a:xfrm>
              <a:off x="1857376" y="4640263"/>
              <a:ext cx="354013" cy="354013"/>
            </a:xfrm>
            <a:prstGeom prst="ellipse">
              <a:avLst/>
            </a:prstGeom>
            <a:solidFill>
              <a:srgbClr val="4956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507"/>
            <p:cNvSpPr>
              <a:spLocks noEditPoints="1"/>
            </p:cNvSpPr>
            <p:nvPr/>
          </p:nvSpPr>
          <p:spPr bwMode="auto">
            <a:xfrm>
              <a:off x="1901826" y="4695825"/>
              <a:ext cx="265113" cy="265113"/>
            </a:xfrm>
            <a:custGeom>
              <a:avLst/>
              <a:gdLst>
                <a:gd name="T0" fmla="*/ 375 w 800"/>
                <a:gd name="T1" fmla="*/ 800 h 800"/>
                <a:gd name="T2" fmla="*/ 1 w 800"/>
                <a:gd name="T3" fmla="*/ 425 h 800"/>
                <a:gd name="T4" fmla="*/ 0 w 800"/>
                <a:gd name="T5" fmla="*/ 375 h 800"/>
                <a:gd name="T6" fmla="*/ 375 w 800"/>
                <a:gd name="T7" fmla="*/ 1 h 800"/>
                <a:gd name="T8" fmla="*/ 425 w 800"/>
                <a:gd name="T9" fmla="*/ 0 h 800"/>
                <a:gd name="T10" fmla="*/ 799 w 800"/>
                <a:gd name="T11" fmla="*/ 375 h 800"/>
                <a:gd name="T12" fmla="*/ 800 w 800"/>
                <a:gd name="T13" fmla="*/ 425 h 800"/>
                <a:gd name="T14" fmla="*/ 425 w 800"/>
                <a:gd name="T15" fmla="*/ 799 h 800"/>
                <a:gd name="T16" fmla="*/ 425 w 800"/>
                <a:gd name="T17" fmla="*/ 578 h 800"/>
                <a:gd name="T18" fmla="*/ 516 w 800"/>
                <a:gd name="T19" fmla="*/ 658 h 800"/>
                <a:gd name="T20" fmla="*/ 425 w 800"/>
                <a:gd name="T21" fmla="*/ 578 h 800"/>
                <a:gd name="T22" fmla="*/ 256 w 800"/>
                <a:gd name="T23" fmla="*/ 593 h 800"/>
                <a:gd name="T24" fmla="*/ 375 w 800"/>
                <a:gd name="T25" fmla="*/ 745 h 800"/>
                <a:gd name="T26" fmla="*/ 593 w 800"/>
                <a:gd name="T27" fmla="*/ 606 h 800"/>
                <a:gd name="T28" fmla="*/ 659 w 800"/>
                <a:gd name="T29" fmla="*/ 634 h 800"/>
                <a:gd name="T30" fmla="*/ 207 w 800"/>
                <a:gd name="T31" fmla="*/ 606 h 800"/>
                <a:gd name="T32" fmla="*/ 268 w 800"/>
                <a:gd name="T33" fmla="*/ 724 h 800"/>
                <a:gd name="T34" fmla="*/ 625 w 800"/>
                <a:gd name="T35" fmla="*/ 425 h 800"/>
                <a:gd name="T36" fmla="*/ 691 w 800"/>
                <a:gd name="T37" fmla="*/ 594 h 800"/>
                <a:gd name="T38" fmla="*/ 625 w 800"/>
                <a:gd name="T39" fmla="*/ 425 h 800"/>
                <a:gd name="T40" fmla="*/ 109 w 800"/>
                <a:gd name="T41" fmla="*/ 594 h 800"/>
                <a:gd name="T42" fmla="*/ 176 w 800"/>
                <a:gd name="T43" fmla="*/ 425 h 800"/>
                <a:gd name="T44" fmla="*/ 425 w 800"/>
                <a:gd name="T45" fmla="*/ 425 h 800"/>
                <a:gd name="T46" fmla="*/ 558 w 800"/>
                <a:gd name="T47" fmla="*/ 545 h 800"/>
                <a:gd name="T48" fmla="*/ 425 w 800"/>
                <a:gd name="T49" fmla="*/ 425 h 800"/>
                <a:gd name="T50" fmla="*/ 242 w 800"/>
                <a:gd name="T51" fmla="*/ 545 h 800"/>
                <a:gd name="T52" fmla="*/ 375 w 800"/>
                <a:gd name="T53" fmla="*/ 425 h 800"/>
                <a:gd name="T54" fmla="*/ 692 w 800"/>
                <a:gd name="T55" fmla="*/ 207 h 800"/>
                <a:gd name="T56" fmla="*/ 625 w 800"/>
                <a:gd name="T57" fmla="*/ 375 h 800"/>
                <a:gd name="T58" fmla="*/ 692 w 800"/>
                <a:gd name="T59" fmla="*/ 207 h 800"/>
                <a:gd name="T60" fmla="*/ 425 w 800"/>
                <a:gd name="T61" fmla="*/ 274 h 800"/>
                <a:gd name="T62" fmla="*/ 574 w 800"/>
                <a:gd name="T63" fmla="*/ 375 h 800"/>
                <a:gd name="T64" fmla="*/ 241 w 800"/>
                <a:gd name="T65" fmla="*/ 256 h 800"/>
                <a:gd name="T66" fmla="*/ 375 w 800"/>
                <a:gd name="T67" fmla="*/ 375 h 800"/>
                <a:gd name="T68" fmla="*/ 241 w 800"/>
                <a:gd name="T69" fmla="*/ 256 h 800"/>
                <a:gd name="T70" fmla="*/ 51 w 800"/>
                <a:gd name="T71" fmla="*/ 375 h 800"/>
                <a:gd name="T72" fmla="*/ 193 w 800"/>
                <a:gd name="T73" fmla="*/ 243 h 800"/>
                <a:gd name="T74" fmla="*/ 425 w 800"/>
                <a:gd name="T75" fmla="*/ 54 h 800"/>
                <a:gd name="T76" fmla="*/ 545 w 800"/>
                <a:gd name="T77" fmla="*/ 209 h 800"/>
                <a:gd name="T78" fmla="*/ 425 w 800"/>
                <a:gd name="T79" fmla="*/ 54 h 800"/>
                <a:gd name="T80" fmla="*/ 285 w 800"/>
                <a:gd name="T81" fmla="*/ 141 h 800"/>
                <a:gd name="T82" fmla="*/ 375 w 800"/>
                <a:gd name="T83" fmla="*/ 224 h 800"/>
                <a:gd name="T84" fmla="*/ 532 w 800"/>
                <a:gd name="T85" fmla="*/ 76 h 800"/>
                <a:gd name="T86" fmla="*/ 661 w 800"/>
                <a:gd name="T87" fmla="*/ 167 h 800"/>
                <a:gd name="T88" fmla="*/ 268 w 800"/>
                <a:gd name="T89" fmla="*/ 76 h 800"/>
                <a:gd name="T90" fmla="*/ 207 w 800"/>
                <a:gd name="T91" fmla="*/ 195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00" h="800">
                  <a:moveTo>
                    <a:pt x="425" y="800"/>
                  </a:moveTo>
                  <a:lnTo>
                    <a:pt x="375" y="800"/>
                  </a:lnTo>
                  <a:lnTo>
                    <a:pt x="375" y="799"/>
                  </a:lnTo>
                  <a:cubicBezTo>
                    <a:pt x="174" y="786"/>
                    <a:pt x="13" y="626"/>
                    <a:pt x="1" y="425"/>
                  </a:cubicBezTo>
                  <a:lnTo>
                    <a:pt x="0" y="425"/>
                  </a:lnTo>
                  <a:lnTo>
                    <a:pt x="0" y="375"/>
                  </a:lnTo>
                  <a:lnTo>
                    <a:pt x="1" y="375"/>
                  </a:lnTo>
                  <a:cubicBezTo>
                    <a:pt x="13" y="174"/>
                    <a:pt x="174" y="13"/>
                    <a:pt x="375" y="1"/>
                  </a:cubicBezTo>
                  <a:lnTo>
                    <a:pt x="375" y="0"/>
                  </a:lnTo>
                  <a:lnTo>
                    <a:pt x="425" y="0"/>
                  </a:lnTo>
                  <a:lnTo>
                    <a:pt x="425" y="1"/>
                  </a:lnTo>
                  <a:cubicBezTo>
                    <a:pt x="626" y="13"/>
                    <a:pt x="787" y="174"/>
                    <a:pt x="799" y="375"/>
                  </a:cubicBezTo>
                  <a:lnTo>
                    <a:pt x="800" y="375"/>
                  </a:lnTo>
                  <a:lnTo>
                    <a:pt x="800" y="425"/>
                  </a:lnTo>
                  <a:lnTo>
                    <a:pt x="799" y="425"/>
                  </a:lnTo>
                  <a:cubicBezTo>
                    <a:pt x="787" y="626"/>
                    <a:pt x="626" y="786"/>
                    <a:pt x="425" y="799"/>
                  </a:cubicBezTo>
                  <a:lnTo>
                    <a:pt x="425" y="800"/>
                  </a:lnTo>
                  <a:close/>
                  <a:moveTo>
                    <a:pt x="425" y="578"/>
                  </a:moveTo>
                  <a:lnTo>
                    <a:pt x="425" y="745"/>
                  </a:lnTo>
                  <a:cubicBezTo>
                    <a:pt x="458" y="735"/>
                    <a:pt x="490" y="704"/>
                    <a:pt x="516" y="658"/>
                  </a:cubicBezTo>
                  <a:cubicBezTo>
                    <a:pt x="527" y="638"/>
                    <a:pt x="536" y="616"/>
                    <a:pt x="544" y="593"/>
                  </a:cubicBezTo>
                  <a:cubicBezTo>
                    <a:pt x="507" y="585"/>
                    <a:pt x="467" y="579"/>
                    <a:pt x="425" y="578"/>
                  </a:cubicBezTo>
                  <a:moveTo>
                    <a:pt x="375" y="578"/>
                  </a:moveTo>
                  <a:cubicBezTo>
                    <a:pt x="334" y="579"/>
                    <a:pt x="294" y="585"/>
                    <a:pt x="256" y="593"/>
                  </a:cubicBezTo>
                  <a:cubicBezTo>
                    <a:pt x="264" y="616"/>
                    <a:pt x="273" y="638"/>
                    <a:pt x="285" y="658"/>
                  </a:cubicBezTo>
                  <a:cubicBezTo>
                    <a:pt x="311" y="704"/>
                    <a:pt x="343" y="735"/>
                    <a:pt x="375" y="745"/>
                  </a:cubicBezTo>
                  <a:lnTo>
                    <a:pt x="375" y="578"/>
                  </a:lnTo>
                  <a:close/>
                  <a:moveTo>
                    <a:pt x="593" y="606"/>
                  </a:moveTo>
                  <a:cubicBezTo>
                    <a:pt x="577" y="652"/>
                    <a:pt x="556" y="692"/>
                    <a:pt x="532" y="724"/>
                  </a:cubicBezTo>
                  <a:cubicBezTo>
                    <a:pt x="581" y="704"/>
                    <a:pt x="624" y="673"/>
                    <a:pt x="659" y="634"/>
                  </a:cubicBezTo>
                  <a:cubicBezTo>
                    <a:pt x="639" y="623"/>
                    <a:pt x="617" y="614"/>
                    <a:pt x="593" y="606"/>
                  </a:cubicBezTo>
                  <a:moveTo>
                    <a:pt x="207" y="606"/>
                  </a:moveTo>
                  <a:cubicBezTo>
                    <a:pt x="184" y="614"/>
                    <a:pt x="161" y="623"/>
                    <a:pt x="141" y="634"/>
                  </a:cubicBezTo>
                  <a:cubicBezTo>
                    <a:pt x="176" y="673"/>
                    <a:pt x="219" y="704"/>
                    <a:pt x="268" y="724"/>
                  </a:cubicBezTo>
                  <a:cubicBezTo>
                    <a:pt x="244" y="692"/>
                    <a:pt x="223" y="652"/>
                    <a:pt x="207" y="606"/>
                  </a:cubicBezTo>
                  <a:close/>
                  <a:moveTo>
                    <a:pt x="625" y="425"/>
                  </a:moveTo>
                  <a:cubicBezTo>
                    <a:pt x="623" y="472"/>
                    <a:pt x="617" y="517"/>
                    <a:pt x="607" y="558"/>
                  </a:cubicBezTo>
                  <a:cubicBezTo>
                    <a:pt x="637" y="568"/>
                    <a:pt x="665" y="580"/>
                    <a:pt x="691" y="594"/>
                  </a:cubicBezTo>
                  <a:cubicBezTo>
                    <a:pt x="724" y="545"/>
                    <a:pt x="744" y="487"/>
                    <a:pt x="749" y="425"/>
                  </a:cubicBezTo>
                  <a:lnTo>
                    <a:pt x="625" y="425"/>
                  </a:lnTo>
                  <a:moveTo>
                    <a:pt x="51" y="425"/>
                  </a:moveTo>
                  <a:cubicBezTo>
                    <a:pt x="56" y="487"/>
                    <a:pt x="76" y="545"/>
                    <a:pt x="109" y="594"/>
                  </a:cubicBezTo>
                  <a:cubicBezTo>
                    <a:pt x="135" y="580"/>
                    <a:pt x="163" y="568"/>
                    <a:pt x="194" y="558"/>
                  </a:cubicBezTo>
                  <a:cubicBezTo>
                    <a:pt x="183" y="517"/>
                    <a:pt x="177" y="472"/>
                    <a:pt x="176" y="425"/>
                  </a:cubicBezTo>
                  <a:lnTo>
                    <a:pt x="51" y="425"/>
                  </a:lnTo>
                  <a:close/>
                  <a:moveTo>
                    <a:pt x="425" y="425"/>
                  </a:moveTo>
                  <a:lnTo>
                    <a:pt x="425" y="528"/>
                  </a:lnTo>
                  <a:cubicBezTo>
                    <a:pt x="471" y="530"/>
                    <a:pt x="516" y="535"/>
                    <a:pt x="558" y="545"/>
                  </a:cubicBezTo>
                  <a:cubicBezTo>
                    <a:pt x="567" y="507"/>
                    <a:pt x="573" y="467"/>
                    <a:pt x="574" y="425"/>
                  </a:cubicBezTo>
                  <a:lnTo>
                    <a:pt x="425" y="425"/>
                  </a:lnTo>
                  <a:close/>
                  <a:moveTo>
                    <a:pt x="226" y="425"/>
                  </a:moveTo>
                  <a:cubicBezTo>
                    <a:pt x="227" y="467"/>
                    <a:pt x="233" y="507"/>
                    <a:pt x="242" y="545"/>
                  </a:cubicBezTo>
                  <a:cubicBezTo>
                    <a:pt x="284" y="535"/>
                    <a:pt x="329" y="529"/>
                    <a:pt x="375" y="528"/>
                  </a:cubicBezTo>
                  <a:lnTo>
                    <a:pt x="375" y="425"/>
                  </a:lnTo>
                  <a:lnTo>
                    <a:pt x="226" y="425"/>
                  </a:lnTo>
                  <a:close/>
                  <a:moveTo>
                    <a:pt x="692" y="207"/>
                  </a:moveTo>
                  <a:cubicBezTo>
                    <a:pt x="666" y="221"/>
                    <a:pt x="638" y="233"/>
                    <a:pt x="607" y="243"/>
                  </a:cubicBezTo>
                  <a:cubicBezTo>
                    <a:pt x="617" y="284"/>
                    <a:pt x="623" y="328"/>
                    <a:pt x="625" y="375"/>
                  </a:cubicBezTo>
                  <a:lnTo>
                    <a:pt x="749" y="375"/>
                  </a:lnTo>
                  <a:cubicBezTo>
                    <a:pt x="744" y="313"/>
                    <a:pt x="724" y="256"/>
                    <a:pt x="692" y="207"/>
                  </a:cubicBezTo>
                  <a:moveTo>
                    <a:pt x="559" y="256"/>
                  </a:moveTo>
                  <a:cubicBezTo>
                    <a:pt x="517" y="266"/>
                    <a:pt x="472" y="272"/>
                    <a:pt x="425" y="274"/>
                  </a:cubicBezTo>
                  <a:lnTo>
                    <a:pt x="425" y="375"/>
                  </a:lnTo>
                  <a:lnTo>
                    <a:pt x="574" y="375"/>
                  </a:lnTo>
                  <a:cubicBezTo>
                    <a:pt x="573" y="333"/>
                    <a:pt x="568" y="294"/>
                    <a:pt x="559" y="256"/>
                  </a:cubicBezTo>
                  <a:close/>
                  <a:moveTo>
                    <a:pt x="241" y="256"/>
                  </a:moveTo>
                  <a:cubicBezTo>
                    <a:pt x="232" y="294"/>
                    <a:pt x="227" y="333"/>
                    <a:pt x="226" y="375"/>
                  </a:cubicBezTo>
                  <a:lnTo>
                    <a:pt x="375" y="375"/>
                  </a:lnTo>
                  <a:lnTo>
                    <a:pt x="375" y="274"/>
                  </a:lnTo>
                  <a:cubicBezTo>
                    <a:pt x="329" y="272"/>
                    <a:pt x="284" y="266"/>
                    <a:pt x="241" y="256"/>
                  </a:cubicBezTo>
                  <a:close/>
                  <a:moveTo>
                    <a:pt x="108" y="207"/>
                  </a:moveTo>
                  <a:cubicBezTo>
                    <a:pt x="76" y="256"/>
                    <a:pt x="56" y="313"/>
                    <a:pt x="51" y="375"/>
                  </a:cubicBezTo>
                  <a:lnTo>
                    <a:pt x="176" y="375"/>
                  </a:lnTo>
                  <a:cubicBezTo>
                    <a:pt x="177" y="328"/>
                    <a:pt x="183" y="284"/>
                    <a:pt x="193" y="243"/>
                  </a:cubicBezTo>
                  <a:cubicBezTo>
                    <a:pt x="162" y="233"/>
                    <a:pt x="134" y="221"/>
                    <a:pt x="108" y="207"/>
                  </a:cubicBezTo>
                  <a:close/>
                  <a:moveTo>
                    <a:pt x="425" y="54"/>
                  </a:moveTo>
                  <a:lnTo>
                    <a:pt x="425" y="224"/>
                  </a:lnTo>
                  <a:cubicBezTo>
                    <a:pt x="467" y="222"/>
                    <a:pt x="507" y="217"/>
                    <a:pt x="545" y="209"/>
                  </a:cubicBezTo>
                  <a:cubicBezTo>
                    <a:pt x="537" y="184"/>
                    <a:pt x="527" y="162"/>
                    <a:pt x="516" y="141"/>
                  </a:cubicBezTo>
                  <a:cubicBezTo>
                    <a:pt x="490" y="95"/>
                    <a:pt x="458" y="65"/>
                    <a:pt x="425" y="54"/>
                  </a:cubicBezTo>
                  <a:close/>
                  <a:moveTo>
                    <a:pt x="375" y="54"/>
                  </a:moveTo>
                  <a:cubicBezTo>
                    <a:pt x="343" y="65"/>
                    <a:pt x="311" y="95"/>
                    <a:pt x="285" y="141"/>
                  </a:cubicBezTo>
                  <a:cubicBezTo>
                    <a:pt x="273" y="162"/>
                    <a:pt x="263" y="184"/>
                    <a:pt x="255" y="209"/>
                  </a:cubicBezTo>
                  <a:cubicBezTo>
                    <a:pt x="293" y="217"/>
                    <a:pt x="333" y="222"/>
                    <a:pt x="375" y="224"/>
                  </a:cubicBezTo>
                  <a:lnTo>
                    <a:pt x="375" y="54"/>
                  </a:lnTo>
                  <a:moveTo>
                    <a:pt x="532" y="76"/>
                  </a:moveTo>
                  <a:cubicBezTo>
                    <a:pt x="557" y="108"/>
                    <a:pt x="578" y="148"/>
                    <a:pt x="594" y="195"/>
                  </a:cubicBezTo>
                  <a:cubicBezTo>
                    <a:pt x="618" y="187"/>
                    <a:pt x="640" y="178"/>
                    <a:pt x="661" y="167"/>
                  </a:cubicBezTo>
                  <a:cubicBezTo>
                    <a:pt x="626" y="128"/>
                    <a:pt x="582" y="96"/>
                    <a:pt x="532" y="76"/>
                  </a:cubicBezTo>
                  <a:close/>
                  <a:moveTo>
                    <a:pt x="268" y="76"/>
                  </a:moveTo>
                  <a:cubicBezTo>
                    <a:pt x="218" y="96"/>
                    <a:pt x="175" y="128"/>
                    <a:pt x="139" y="167"/>
                  </a:cubicBezTo>
                  <a:cubicBezTo>
                    <a:pt x="160" y="178"/>
                    <a:pt x="183" y="187"/>
                    <a:pt x="207" y="195"/>
                  </a:cubicBezTo>
                  <a:cubicBezTo>
                    <a:pt x="222" y="148"/>
                    <a:pt x="243" y="108"/>
                    <a:pt x="268" y="76"/>
                  </a:cubicBezTo>
                  <a:close/>
                </a:path>
              </a:pathLst>
            </a:custGeom>
            <a:solidFill>
              <a:srgbClr val="404A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Freeform 508"/>
            <p:cNvSpPr>
              <a:spLocks noEditPoints="1"/>
            </p:cNvSpPr>
            <p:nvPr/>
          </p:nvSpPr>
          <p:spPr bwMode="auto">
            <a:xfrm>
              <a:off x="1901826" y="4684713"/>
              <a:ext cx="265113" cy="265113"/>
            </a:xfrm>
            <a:custGeom>
              <a:avLst/>
              <a:gdLst>
                <a:gd name="T0" fmla="*/ 400 w 800"/>
                <a:gd name="T1" fmla="*/ 0 h 800"/>
                <a:gd name="T2" fmla="*/ 0 w 800"/>
                <a:gd name="T3" fmla="*/ 400 h 800"/>
                <a:gd name="T4" fmla="*/ 400 w 800"/>
                <a:gd name="T5" fmla="*/ 800 h 800"/>
                <a:gd name="T6" fmla="*/ 800 w 800"/>
                <a:gd name="T7" fmla="*/ 400 h 800"/>
                <a:gd name="T8" fmla="*/ 400 w 800"/>
                <a:gd name="T9" fmla="*/ 0 h 800"/>
                <a:gd name="T10" fmla="*/ 400 w 800"/>
                <a:gd name="T11" fmla="*/ 50 h 800"/>
                <a:gd name="T12" fmla="*/ 750 w 800"/>
                <a:gd name="T13" fmla="*/ 400 h 800"/>
                <a:gd name="T14" fmla="*/ 400 w 800"/>
                <a:gd name="T15" fmla="*/ 750 h 800"/>
                <a:gd name="T16" fmla="*/ 50 w 800"/>
                <a:gd name="T17" fmla="*/ 400 h 800"/>
                <a:gd name="T18" fmla="*/ 400 w 800"/>
                <a:gd name="T19" fmla="*/ 5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0" h="800">
                  <a:moveTo>
                    <a:pt x="400" y="0"/>
                  </a:moveTo>
                  <a:cubicBezTo>
                    <a:pt x="179" y="0"/>
                    <a:pt x="0" y="179"/>
                    <a:pt x="0" y="400"/>
                  </a:cubicBezTo>
                  <a:cubicBezTo>
                    <a:pt x="0" y="621"/>
                    <a:pt x="179" y="800"/>
                    <a:pt x="400" y="800"/>
                  </a:cubicBezTo>
                  <a:cubicBezTo>
                    <a:pt x="621" y="800"/>
                    <a:pt x="800" y="621"/>
                    <a:pt x="800" y="400"/>
                  </a:cubicBezTo>
                  <a:cubicBezTo>
                    <a:pt x="800" y="179"/>
                    <a:pt x="621" y="0"/>
                    <a:pt x="400" y="0"/>
                  </a:cubicBezTo>
                  <a:close/>
                  <a:moveTo>
                    <a:pt x="400" y="50"/>
                  </a:moveTo>
                  <a:cubicBezTo>
                    <a:pt x="593" y="50"/>
                    <a:pt x="750" y="207"/>
                    <a:pt x="750" y="400"/>
                  </a:cubicBezTo>
                  <a:cubicBezTo>
                    <a:pt x="750" y="593"/>
                    <a:pt x="593" y="750"/>
                    <a:pt x="400" y="750"/>
                  </a:cubicBezTo>
                  <a:cubicBezTo>
                    <a:pt x="207" y="750"/>
                    <a:pt x="50" y="593"/>
                    <a:pt x="50" y="400"/>
                  </a:cubicBezTo>
                  <a:cubicBezTo>
                    <a:pt x="50" y="207"/>
                    <a:pt x="207" y="50"/>
                    <a:pt x="400" y="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eform 509"/>
            <p:cNvSpPr>
              <a:spLocks noEditPoints="1"/>
            </p:cNvSpPr>
            <p:nvPr/>
          </p:nvSpPr>
          <p:spPr bwMode="auto">
            <a:xfrm>
              <a:off x="1958976" y="4684713"/>
              <a:ext cx="149225" cy="265113"/>
            </a:xfrm>
            <a:custGeom>
              <a:avLst/>
              <a:gdLst>
                <a:gd name="T0" fmla="*/ 225 w 450"/>
                <a:gd name="T1" fmla="*/ 0 h 800"/>
                <a:gd name="T2" fmla="*/ 0 w 450"/>
                <a:gd name="T3" fmla="*/ 400 h 800"/>
                <a:gd name="T4" fmla="*/ 225 w 450"/>
                <a:gd name="T5" fmla="*/ 800 h 800"/>
                <a:gd name="T6" fmla="*/ 450 w 450"/>
                <a:gd name="T7" fmla="*/ 400 h 800"/>
                <a:gd name="T8" fmla="*/ 225 w 450"/>
                <a:gd name="T9" fmla="*/ 0 h 800"/>
                <a:gd name="T10" fmla="*/ 225 w 450"/>
                <a:gd name="T11" fmla="*/ 50 h 800"/>
                <a:gd name="T12" fmla="*/ 341 w 450"/>
                <a:gd name="T13" fmla="*/ 142 h 800"/>
                <a:gd name="T14" fmla="*/ 400 w 450"/>
                <a:gd name="T15" fmla="*/ 400 h 800"/>
                <a:gd name="T16" fmla="*/ 341 w 450"/>
                <a:gd name="T17" fmla="*/ 659 h 800"/>
                <a:gd name="T18" fmla="*/ 225 w 450"/>
                <a:gd name="T19" fmla="*/ 750 h 800"/>
                <a:gd name="T20" fmla="*/ 110 w 450"/>
                <a:gd name="T21" fmla="*/ 659 h 800"/>
                <a:gd name="T22" fmla="*/ 50 w 450"/>
                <a:gd name="T23" fmla="*/ 400 h 800"/>
                <a:gd name="T24" fmla="*/ 110 w 450"/>
                <a:gd name="T25" fmla="*/ 142 h 800"/>
                <a:gd name="T26" fmla="*/ 225 w 450"/>
                <a:gd name="T27" fmla="*/ 5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50" h="800">
                  <a:moveTo>
                    <a:pt x="225" y="0"/>
                  </a:moveTo>
                  <a:cubicBezTo>
                    <a:pt x="101" y="0"/>
                    <a:pt x="0" y="179"/>
                    <a:pt x="0" y="400"/>
                  </a:cubicBezTo>
                  <a:cubicBezTo>
                    <a:pt x="0" y="621"/>
                    <a:pt x="101" y="800"/>
                    <a:pt x="225" y="800"/>
                  </a:cubicBezTo>
                  <a:cubicBezTo>
                    <a:pt x="349" y="800"/>
                    <a:pt x="450" y="621"/>
                    <a:pt x="450" y="400"/>
                  </a:cubicBezTo>
                  <a:cubicBezTo>
                    <a:pt x="450" y="179"/>
                    <a:pt x="349" y="0"/>
                    <a:pt x="225" y="0"/>
                  </a:cubicBezTo>
                  <a:close/>
                  <a:moveTo>
                    <a:pt x="225" y="50"/>
                  </a:moveTo>
                  <a:cubicBezTo>
                    <a:pt x="266" y="50"/>
                    <a:pt x="308" y="84"/>
                    <a:pt x="341" y="142"/>
                  </a:cubicBezTo>
                  <a:cubicBezTo>
                    <a:pt x="379" y="210"/>
                    <a:pt x="400" y="302"/>
                    <a:pt x="400" y="400"/>
                  </a:cubicBezTo>
                  <a:cubicBezTo>
                    <a:pt x="400" y="499"/>
                    <a:pt x="379" y="590"/>
                    <a:pt x="341" y="659"/>
                  </a:cubicBezTo>
                  <a:cubicBezTo>
                    <a:pt x="308" y="717"/>
                    <a:pt x="266" y="750"/>
                    <a:pt x="225" y="750"/>
                  </a:cubicBezTo>
                  <a:cubicBezTo>
                    <a:pt x="184" y="750"/>
                    <a:pt x="142" y="717"/>
                    <a:pt x="110" y="659"/>
                  </a:cubicBezTo>
                  <a:cubicBezTo>
                    <a:pt x="71" y="590"/>
                    <a:pt x="50" y="499"/>
                    <a:pt x="50" y="400"/>
                  </a:cubicBezTo>
                  <a:cubicBezTo>
                    <a:pt x="50" y="302"/>
                    <a:pt x="71" y="210"/>
                    <a:pt x="110" y="142"/>
                  </a:cubicBezTo>
                  <a:cubicBezTo>
                    <a:pt x="142" y="84"/>
                    <a:pt x="184" y="50"/>
                    <a:pt x="225" y="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Rectangle 510"/>
            <p:cNvSpPr>
              <a:spLocks noChangeArrowheads="1"/>
            </p:cNvSpPr>
            <p:nvPr/>
          </p:nvSpPr>
          <p:spPr bwMode="auto">
            <a:xfrm>
              <a:off x="2025651" y="4684713"/>
              <a:ext cx="17463" cy="2651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 511"/>
            <p:cNvSpPr>
              <a:spLocks/>
            </p:cNvSpPr>
            <p:nvPr/>
          </p:nvSpPr>
          <p:spPr bwMode="auto">
            <a:xfrm>
              <a:off x="1927226" y="4733925"/>
              <a:ext cx="212725" cy="41275"/>
            </a:xfrm>
            <a:custGeom>
              <a:avLst/>
              <a:gdLst>
                <a:gd name="T0" fmla="*/ 321 w 642"/>
                <a:gd name="T1" fmla="*/ 126 h 126"/>
                <a:gd name="T2" fmla="*/ 0 w 642"/>
                <a:gd name="T3" fmla="*/ 41 h 126"/>
                <a:gd name="T4" fmla="*/ 28 w 642"/>
                <a:gd name="T5" fmla="*/ 0 h 126"/>
                <a:gd name="T6" fmla="*/ 321 w 642"/>
                <a:gd name="T7" fmla="*/ 76 h 126"/>
                <a:gd name="T8" fmla="*/ 614 w 642"/>
                <a:gd name="T9" fmla="*/ 0 h 126"/>
                <a:gd name="T10" fmla="*/ 642 w 642"/>
                <a:gd name="T11" fmla="*/ 41 h 126"/>
                <a:gd name="T12" fmla="*/ 321 w 642"/>
                <a:gd name="T13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2" h="126">
                  <a:moveTo>
                    <a:pt x="321" y="126"/>
                  </a:moveTo>
                  <a:cubicBezTo>
                    <a:pt x="197" y="126"/>
                    <a:pt x="80" y="95"/>
                    <a:pt x="0" y="41"/>
                  </a:cubicBezTo>
                  <a:lnTo>
                    <a:pt x="28" y="0"/>
                  </a:lnTo>
                  <a:cubicBezTo>
                    <a:pt x="100" y="48"/>
                    <a:pt x="207" y="76"/>
                    <a:pt x="321" y="76"/>
                  </a:cubicBezTo>
                  <a:cubicBezTo>
                    <a:pt x="435" y="76"/>
                    <a:pt x="542" y="48"/>
                    <a:pt x="614" y="0"/>
                  </a:cubicBezTo>
                  <a:lnTo>
                    <a:pt x="642" y="41"/>
                  </a:lnTo>
                  <a:cubicBezTo>
                    <a:pt x="562" y="95"/>
                    <a:pt x="445" y="126"/>
                    <a:pt x="321" y="12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Freeform 512"/>
            <p:cNvSpPr>
              <a:spLocks/>
            </p:cNvSpPr>
            <p:nvPr/>
          </p:nvSpPr>
          <p:spPr bwMode="auto">
            <a:xfrm>
              <a:off x="1927226" y="4859338"/>
              <a:ext cx="212725" cy="41275"/>
            </a:xfrm>
            <a:custGeom>
              <a:avLst/>
              <a:gdLst>
                <a:gd name="T0" fmla="*/ 614 w 642"/>
                <a:gd name="T1" fmla="*/ 126 h 126"/>
                <a:gd name="T2" fmla="*/ 321 w 642"/>
                <a:gd name="T3" fmla="*/ 50 h 126"/>
                <a:gd name="T4" fmla="*/ 28 w 642"/>
                <a:gd name="T5" fmla="*/ 126 h 126"/>
                <a:gd name="T6" fmla="*/ 0 w 642"/>
                <a:gd name="T7" fmla="*/ 85 h 126"/>
                <a:gd name="T8" fmla="*/ 321 w 642"/>
                <a:gd name="T9" fmla="*/ 0 h 126"/>
                <a:gd name="T10" fmla="*/ 642 w 642"/>
                <a:gd name="T11" fmla="*/ 85 h 126"/>
                <a:gd name="T12" fmla="*/ 614 w 642"/>
                <a:gd name="T13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2" h="126">
                  <a:moveTo>
                    <a:pt x="614" y="126"/>
                  </a:moveTo>
                  <a:cubicBezTo>
                    <a:pt x="542" y="78"/>
                    <a:pt x="435" y="50"/>
                    <a:pt x="321" y="50"/>
                  </a:cubicBezTo>
                  <a:cubicBezTo>
                    <a:pt x="207" y="50"/>
                    <a:pt x="100" y="78"/>
                    <a:pt x="28" y="126"/>
                  </a:cubicBezTo>
                  <a:lnTo>
                    <a:pt x="0" y="85"/>
                  </a:lnTo>
                  <a:cubicBezTo>
                    <a:pt x="80" y="31"/>
                    <a:pt x="197" y="0"/>
                    <a:pt x="321" y="0"/>
                  </a:cubicBezTo>
                  <a:cubicBezTo>
                    <a:pt x="445" y="0"/>
                    <a:pt x="562" y="31"/>
                    <a:pt x="642" y="85"/>
                  </a:cubicBezTo>
                  <a:lnTo>
                    <a:pt x="614" y="126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Rectangle 513"/>
            <p:cNvSpPr>
              <a:spLocks noChangeArrowheads="1"/>
            </p:cNvSpPr>
            <p:nvPr/>
          </p:nvSpPr>
          <p:spPr bwMode="auto">
            <a:xfrm>
              <a:off x="1901826" y="4808538"/>
              <a:ext cx="265113" cy="158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3" name="Light_bulb2"/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6142283" y="3924935"/>
            <a:ext cx="1244698" cy="1244698"/>
            <a:chOff x="8237538" y="3503613"/>
            <a:chExt cx="534988" cy="534988"/>
          </a:xfrm>
        </p:grpSpPr>
        <p:sp>
          <p:nvSpPr>
            <p:cNvPr id="104" name="Oval 1137"/>
            <p:cNvSpPr>
              <a:spLocks noChangeArrowheads="1"/>
            </p:cNvSpPr>
            <p:nvPr/>
          </p:nvSpPr>
          <p:spPr bwMode="auto">
            <a:xfrm>
              <a:off x="8237538" y="3503613"/>
              <a:ext cx="534988" cy="534988"/>
            </a:xfrm>
            <a:prstGeom prst="ellipse">
              <a:avLst/>
            </a:prstGeom>
            <a:solidFill>
              <a:srgbClr val="C847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5" name="Freeform 1138"/>
            <p:cNvSpPr>
              <a:spLocks/>
            </p:cNvSpPr>
            <p:nvPr/>
          </p:nvSpPr>
          <p:spPr bwMode="auto">
            <a:xfrm>
              <a:off x="8447088" y="3897313"/>
              <a:ext cx="115888" cy="73025"/>
            </a:xfrm>
            <a:custGeom>
              <a:avLst/>
              <a:gdLst>
                <a:gd name="T0" fmla="*/ 116 w 233"/>
                <a:gd name="T1" fmla="*/ 146 h 146"/>
                <a:gd name="T2" fmla="*/ 104 w 233"/>
                <a:gd name="T3" fmla="*/ 143 h 146"/>
                <a:gd name="T4" fmla="*/ 16 w 233"/>
                <a:gd name="T5" fmla="*/ 93 h 146"/>
                <a:gd name="T6" fmla="*/ 0 w 233"/>
                <a:gd name="T7" fmla="*/ 67 h 146"/>
                <a:gd name="T8" fmla="*/ 0 w 233"/>
                <a:gd name="T9" fmla="*/ 0 h 146"/>
                <a:gd name="T10" fmla="*/ 0 w 233"/>
                <a:gd name="T11" fmla="*/ 0 h 146"/>
                <a:gd name="T12" fmla="*/ 0 w 233"/>
                <a:gd name="T13" fmla="*/ 34 h 146"/>
                <a:gd name="T14" fmla="*/ 16 w 233"/>
                <a:gd name="T15" fmla="*/ 59 h 146"/>
                <a:gd name="T16" fmla="*/ 104 w 233"/>
                <a:gd name="T17" fmla="*/ 110 h 146"/>
                <a:gd name="T18" fmla="*/ 116 w 233"/>
                <a:gd name="T19" fmla="*/ 113 h 146"/>
                <a:gd name="T20" fmla="*/ 129 w 233"/>
                <a:gd name="T21" fmla="*/ 110 h 146"/>
                <a:gd name="T22" fmla="*/ 217 w 233"/>
                <a:gd name="T23" fmla="*/ 59 h 146"/>
                <a:gd name="T24" fmla="*/ 233 w 233"/>
                <a:gd name="T25" fmla="*/ 34 h 146"/>
                <a:gd name="T26" fmla="*/ 233 w 233"/>
                <a:gd name="T27" fmla="*/ 67 h 146"/>
                <a:gd name="T28" fmla="*/ 217 w 233"/>
                <a:gd name="T29" fmla="*/ 93 h 146"/>
                <a:gd name="T30" fmla="*/ 129 w 233"/>
                <a:gd name="T31" fmla="*/ 143 h 146"/>
                <a:gd name="T32" fmla="*/ 116 w 233"/>
                <a:gd name="T33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3" h="146">
                  <a:moveTo>
                    <a:pt x="116" y="146"/>
                  </a:moveTo>
                  <a:cubicBezTo>
                    <a:pt x="112" y="146"/>
                    <a:pt x="107" y="145"/>
                    <a:pt x="104" y="143"/>
                  </a:cubicBezTo>
                  <a:lnTo>
                    <a:pt x="16" y="93"/>
                  </a:lnTo>
                  <a:cubicBezTo>
                    <a:pt x="9" y="89"/>
                    <a:pt x="0" y="75"/>
                    <a:pt x="0" y="67"/>
                  </a:cubicBezTo>
                  <a:lnTo>
                    <a:pt x="0" y="0"/>
                  </a:lnTo>
                  <a:lnTo>
                    <a:pt x="0" y="0"/>
                  </a:lnTo>
                  <a:lnTo>
                    <a:pt x="0" y="34"/>
                  </a:lnTo>
                  <a:cubicBezTo>
                    <a:pt x="0" y="42"/>
                    <a:pt x="9" y="55"/>
                    <a:pt x="16" y="59"/>
                  </a:cubicBezTo>
                  <a:lnTo>
                    <a:pt x="104" y="110"/>
                  </a:lnTo>
                  <a:cubicBezTo>
                    <a:pt x="107" y="112"/>
                    <a:pt x="112" y="113"/>
                    <a:pt x="116" y="113"/>
                  </a:cubicBezTo>
                  <a:cubicBezTo>
                    <a:pt x="121" y="113"/>
                    <a:pt x="125" y="112"/>
                    <a:pt x="129" y="110"/>
                  </a:cubicBezTo>
                  <a:lnTo>
                    <a:pt x="217" y="59"/>
                  </a:lnTo>
                  <a:cubicBezTo>
                    <a:pt x="224" y="55"/>
                    <a:pt x="233" y="42"/>
                    <a:pt x="233" y="34"/>
                  </a:cubicBezTo>
                  <a:lnTo>
                    <a:pt x="233" y="67"/>
                  </a:lnTo>
                  <a:cubicBezTo>
                    <a:pt x="233" y="75"/>
                    <a:pt x="224" y="89"/>
                    <a:pt x="217" y="93"/>
                  </a:cubicBezTo>
                  <a:lnTo>
                    <a:pt x="129" y="143"/>
                  </a:lnTo>
                  <a:cubicBezTo>
                    <a:pt x="125" y="145"/>
                    <a:pt x="121" y="146"/>
                    <a:pt x="116" y="146"/>
                  </a:cubicBez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Freeform 1139"/>
            <p:cNvSpPr>
              <a:spLocks/>
            </p:cNvSpPr>
            <p:nvPr/>
          </p:nvSpPr>
          <p:spPr bwMode="auto">
            <a:xfrm>
              <a:off x="8447088" y="3849688"/>
              <a:ext cx="115888" cy="104775"/>
            </a:xfrm>
            <a:custGeom>
              <a:avLst/>
              <a:gdLst>
                <a:gd name="T0" fmla="*/ 0 w 233"/>
                <a:gd name="T1" fmla="*/ 0 h 212"/>
                <a:gd name="T2" fmla="*/ 0 w 233"/>
                <a:gd name="T3" fmla="*/ 132 h 212"/>
                <a:gd name="T4" fmla="*/ 16 w 233"/>
                <a:gd name="T5" fmla="*/ 157 h 212"/>
                <a:gd name="T6" fmla="*/ 104 w 233"/>
                <a:gd name="T7" fmla="*/ 208 h 212"/>
                <a:gd name="T8" fmla="*/ 129 w 233"/>
                <a:gd name="T9" fmla="*/ 208 h 212"/>
                <a:gd name="T10" fmla="*/ 217 w 233"/>
                <a:gd name="T11" fmla="*/ 157 h 212"/>
                <a:gd name="T12" fmla="*/ 233 w 233"/>
                <a:gd name="T13" fmla="*/ 132 h 212"/>
                <a:gd name="T14" fmla="*/ 233 w 233"/>
                <a:gd name="T15" fmla="*/ 0 h 212"/>
                <a:gd name="T16" fmla="*/ 116 w 233"/>
                <a:gd name="T17" fmla="*/ 28 h 212"/>
                <a:gd name="T18" fmla="*/ 0 w 233"/>
                <a:gd name="T19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3" h="212">
                  <a:moveTo>
                    <a:pt x="0" y="0"/>
                  </a:moveTo>
                  <a:lnTo>
                    <a:pt x="0" y="132"/>
                  </a:lnTo>
                  <a:cubicBezTo>
                    <a:pt x="0" y="140"/>
                    <a:pt x="9" y="153"/>
                    <a:pt x="16" y="157"/>
                  </a:cubicBezTo>
                  <a:lnTo>
                    <a:pt x="104" y="208"/>
                  </a:lnTo>
                  <a:cubicBezTo>
                    <a:pt x="111" y="212"/>
                    <a:pt x="122" y="212"/>
                    <a:pt x="129" y="208"/>
                  </a:cubicBezTo>
                  <a:lnTo>
                    <a:pt x="217" y="157"/>
                  </a:lnTo>
                  <a:cubicBezTo>
                    <a:pt x="224" y="153"/>
                    <a:pt x="233" y="140"/>
                    <a:pt x="233" y="132"/>
                  </a:cubicBezTo>
                  <a:lnTo>
                    <a:pt x="233" y="0"/>
                  </a:lnTo>
                  <a:cubicBezTo>
                    <a:pt x="198" y="18"/>
                    <a:pt x="158" y="28"/>
                    <a:pt x="116" y="28"/>
                  </a:cubicBezTo>
                  <a:cubicBezTo>
                    <a:pt x="74" y="28"/>
                    <a:pt x="35" y="18"/>
                    <a:pt x="0" y="0"/>
                  </a:cubicBezTo>
                  <a:close/>
                </a:path>
              </a:pathLst>
            </a:cu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Freeform 1140"/>
            <p:cNvSpPr>
              <a:spLocks noEditPoints="1"/>
            </p:cNvSpPr>
            <p:nvPr/>
          </p:nvSpPr>
          <p:spPr bwMode="auto">
            <a:xfrm>
              <a:off x="8385175" y="3781426"/>
              <a:ext cx="239713" cy="115888"/>
            </a:xfrm>
            <a:custGeom>
              <a:avLst/>
              <a:gdLst>
                <a:gd name="T0" fmla="*/ 357 w 481"/>
                <a:gd name="T1" fmla="*/ 232 h 232"/>
                <a:gd name="T2" fmla="*/ 357 w 481"/>
                <a:gd name="T3" fmla="*/ 189 h 232"/>
                <a:gd name="T4" fmla="*/ 480 w 481"/>
                <a:gd name="T5" fmla="*/ 0 h 232"/>
                <a:gd name="T6" fmla="*/ 481 w 481"/>
                <a:gd name="T7" fmla="*/ 21 h 232"/>
                <a:gd name="T8" fmla="*/ 357 w 481"/>
                <a:gd name="T9" fmla="*/ 232 h 232"/>
                <a:gd name="T10" fmla="*/ 124 w 481"/>
                <a:gd name="T11" fmla="*/ 232 h 232"/>
                <a:gd name="T12" fmla="*/ 0 w 481"/>
                <a:gd name="T13" fmla="*/ 21 h 232"/>
                <a:gd name="T14" fmla="*/ 1 w 481"/>
                <a:gd name="T15" fmla="*/ 0 h 232"/>
                <a:gd name="T16" fmla="*/ 124 w 481"/>
                <a:gd name="T17" fmla="*/ 189 h 232"/>
                <a:gd name="T18" fmla="*/ 124 w 481"/>
                <a:gd name="T19" fmla="*/ 232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1" h="232">
                  <a:moveTo>
                    <a:pt x="357" y="232"/>
                  </a:moveTo>
                  <a:lnTo>
                    <a:pt x="357" y="189"/>
                  </a:lnTo>
                  <a:cubicBezTo>
                    <a:pt x="425" y="151"/>
                    <a:pt x="473" y="81"/>
                    <a:pt x="480" y="0"/>
                  </a:cubicBezTo>
                  <a:cubicBezTo>
                    <a:pt x="481" y="7"/>
                    <a:pt x="481" y="14"/>
                    <a:pt x="481" y="21"/>
                  </a:cubicBezTo>
                  <a:cubicBezTo>
                    <a:pt x="481" y="112"/>
                    <a:pt x="431" y="190"/>
                    <a:pt x="357" y="232"/>
                  </a:cubicBezTo>
                  <a:close/>
                  <a:moveTo>
                    <a:pt x="124" y="232"/>
                  </a:moveTo>
                  <a:cubicBezTo>
                    <a:pt x="50" y="190"/>
                    <a:pt x="0" y="112"/>
                    <a:pt x="0" y="21"/>
                  </a:cubicBezTo>
                  <a:cubicBezTo>
                    <a:pt x="0" y="14"/>
                    <a:pt x="0" y="7"/>
                    <a:pt x="1" y="0"/>
                  </a:cubicBezTo>
                  <a:cubicBezTo>
                    <a:pt x="8" y="81"/>
                    <a:pt x="56" y="151"/>
                    <a:pt x="124" y="189"/>
                  </a:cubicBezTo>
                  <a:lnTo>
                    <a:pt x="124" y="232"/>
                  </a:ln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Freeform 1141"/>
            <p:cNvSpPr>
              <a:spLocks/>
            </p:cNvSpPr>
            <p:nvPr/>
          </p:nvSpPr>
          <p:spPr bwMode="auto">
            <a:xfrm>
              <a:off x="8447088" y="3876676"/>
              <a:ext cx="115888" cy="36513"/>
            </a:xfrm>
            <a:custGeom>
              <a:avLst/>
              <a:gdLst>
                <a:gd name="T0" fmla="*/ 116 w 233"/>
                <a:gd name="T1" fmla="*/ 73 h 73"/>
                <a:gd name="T2" fmla="*/ 0 w 233"/>
                <a:gd name="T3" fmla="*/ 43 h 73"/>
                <a:gd name="T4" fmla="*/ 0 w 233"/>
                <a:gd name="T5" fmla="*/ 0 h 73"/>
                <a:gd name="T6" fmla="*/ 116 w 233"/>
                <a:gd name="T7" fmla="*/ 30 h 73"/>
                <a:gd name="T8" fmla="*/ 233 w 233"/>
                <a:gd name="T9" fmla="*/ 0 h 73"/>
                <a:gd name="T10" fmla="*/ 233 w 233"/>
                <a:gd name="T11" fmla="*/ 43 h 73"/>
                <a:gd name="T12" fmla="*/ 116 w 233"/>
                <a:gd name="T13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3" h="73">
                  <a:moveTo>
                    <a:pt x="116" y="73"/>
                  </a:moveTo>
                  <a:cubicBezTo>
                    <a:pt x="74" y="73"/>
                    <a:pt x="34" y="62"/>
                    <a:pt x="0" y="43"/>
                  </a:cubicBezTo>
                  <a:lnTo>
                    <a:pt x="0" y="0"/>
                  </a:lnTo>
                  <a:cubicBezTo>
                    <a:pt x="34" y="19"/>
                    <a:pt x="74" y="30"/>
                    <a:pt x="116" y="30"/>
                  </a:cubicBezTo>
                  <a:cubicBezTo>
                    <a:pt x="159" y="30"/>
                    <a:pt x="198" y="19"/>
                    <a:pt x="233" y="0"/>
                  </a:cubicBezTo>
                  <a:lnTo>
                    <a:pt x="233" y="43"/>
                  </a:lnTo>
                  <a:cubicBezTo>
                    <a:pt x="198" y="62"/>
                    <a:pt x="159" y="73"/>
                    <a:pt x="116" y="73"/>
                  </a:cubicBezTo>
                  <a:close/>
                </a:path>
              </a:pathLst>
            </a:custGeom>
            <a:solidFill>
              <a:srgbClr val="B7B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Oval 1142"/>
            <p:cNvSpPr>
              <a:spLocks noChangeArrowheads="1"/>
            </p:cNvSpPr>
            <p:nvPr/>
          </p:nvSpPr>
          <p:spPr bwMode="auto">
            <a:xfrm>
              <a:off x="8385175" y="3651251"/>
              <a:ext cx="239713" cy="2397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Freeform 1143"/>
            <p:cNvSpPr>
              <a:spLocks/>
            </p:cNvSpPr>
            <p:nvPr/>
          </p:nvSpPr>
          <p:spPr bwMode="auto">
            <a:xfrm>
              <a:off x="8491538" y="3603626"/>
              <a:ext cx="25400" cy="42863"/>
            </a:xfrm>
            <a:custGeom>
              <a:avLst/>
              <a:gdLst>
                <a:gd name="T0" fmla="*/ 25 w 50"/>
                <a:gd name="T1" fmla="*/ 83 h 83"/>
                <a:gd name="T2" fmla="*/ 0 w 50"/>
                <a:gd name="T3" fmla="*/ 58 h 83"/>
                <a:gd name="T4" fmla="*/ 0 w 50"/>
                <a:gd name="T5" fmla="*/ 25 h 83"/>
                <a:gd name="T6" fmla="*/ 25 w 50"/>
                <a:gd name="T7" fmla="*/ 0 h 83"/>
                <a:gd name="T8" fmla="*/ 50 w 50"/>
                <a:gd name="T9" fmla="*/ 25 h 83"/>
                <a:gd name="T10" fmla="*/ 50 w 50"/>
                <a:gd name="T11" fmla="*/ 58 h 83"/>
                <a:gd name="T12" fmla="*/ 25 w 50"/>
                <a:gd name="T13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83">
                  <a:moveTo>
                    <a:pt x="25" y="83"/>
                  </a:moveTo>
                  <a:cubicBezTo>
                    <a:pt x="12" y="83"/>
                    <a:pt x="0" y="72"/>
                    <a:pt x="0" y="58"/>
                  </a:cubicBezTo>
                  <a:lnTo>
                    <a:pt x="0" y="25"/>
                  </a:lnTo>
                  <a:cubicBezTo>
                    <a:pt x="0" y="11"/>
                    <a:pt x="12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lnTo>
                    <a:pt x="50" y="58"/>
                  </a:lnTo>
                  <a:cubicBezTo>
                    <a:pt x="50" y="72"/>
                    <a:pt x="39" y="83"/>
                    <a:pt x="25" y="83"/>
                  </a:cubicBez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Freeform 1144"/>
            <p:cNvSpPr>
              <a:spLocks/>
            </p:cNvSpPr>
            <p:nvPr/>
          </p:nvSpPr>
          <p:spPr bwMode="auto">
            <a:xfrm>
              <a:off x="8647113" y="3775076"/>
              <a:ext cx="41275" cy="25400"/>
            </a:xfrm>
            <a:custGeom>
              <a:avLst/>
              <a:gdLst>
                <a:gd name="T0" fmla="*/ 58 w 83"/>
                <a:gd name="T1" fmla="*/ 50 h 50"/>
                <a:gd name="T2" fmla="*/ 25 w 83"/>
                <a:gd name="T3" fmla="*/ 50 h 50"/>
                <a:gd name="T4" fmla="*/ 0 w 83"/>
                <a:gd name="T5" fmla="*/ 25 h 50"/>
                <a:gd name="T6" fmla="*/ 25 w 83"/>
                <a:gd name="T7" fmla="*/ 0 h 50"/>
                <a:gd name="T8" fmla="*/ 58 w 83"/>
                <a:gd name="T9" fmla="*/ 0 h 50"/>
                <a:gd name="T10" fmla="*/ 83 w 83"/>
                <a:gd name="T11" fmla="*/ 25 h 50"/>
                <a:gd name="T12" fmla="*/ 58 w 83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50">
                  <a:moveTo>
                    <a:pt x="58" y="50"/>
                  </a:moveTo>
                  <a:lnTo>
                    <a:pt x="25" y="50"/>
                  </a:ln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lnTo>
                    <a:pt x="58" y="0"/>
                  </a:lnTo>
                  <a:cubicBezTo>
                    <a:pt x="72" y="0"/>
                    <a:pt x="83" y="11"/>
                    <a:pt x="83" y="25"/>
                  </a:cubicBezTo>
                  <a:cubicBezTo>
                    <a:pt x="83" y="38"/>
                    <a:pt x="72" y="50"/>
                    <a:pt x="58" y="50"/>
                  </a:cubicBez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form 1145"/>
            <p:cNvSpPr>
              <a:spLocks/>
            </p:cNvSpPr>
            <p:nvPr/>
          </p:nvSpPr>
          <p:spPr bwMode="auto">
            <a:xfrm>
              <a:off x="8321675" y="3775076"/>
              <a:ext cx="41275" cy="25400"/>
            </a:xfrm>
            <a:custGeom>
              <a:avLst/>
              <a:gdLst>
                <a:gd name="T0" fmla="*/ 58 w 83"/>
                <a:gd name="T1" fmla="*/ 50 h 50"/>
                <a:gd name="T2" fmla="*/ 25 w 83"/>
                <a:gd name="T3" fmla="*/ 50 h 50"/>
                <a:gd name="T4" fmla="*/ 0 w 83"/>
                <a:gd name="T5" fmla="*/ 25 h 50"/>
                <a:gd name="T6" fmla="*/ 25 w 83"/>
                <a:gd name="T7" fmla="*/ 0 h 50"/>
                <a:gd name="T8" fmla="*/ 58 w 83"/>
                <a:gd name="T9" fmla="*/ 0 h 50"/>
                <a:gd name="T10" fmla="*/ 83 w 83"/>
                <a:gd name="T11" fmla="*/ 25 h 50"/>
                <a:gd name="T12" fmla="*/ 58 w 83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50">
                  <a:moveTo>
                    <a:pt x="58" y="50"/>
                  </a:moveTo>
                  <a:lnTo>
                    <a:pt x="25" y="50"/>
                  </a:lnTo>
                  <a:cubicBezTo>
                    <a:pt x="11" y="50"/>
                    <a:pt x="0" y="38"/>
                    <a:pt x="0" y="25"/>
                  </a:cubicBezTo>
                  <a:cubicBezTo>
                    <a:pt x="0" y="11"/>
                    <a:pt x="11" y="0"/>
                    <a:pt x="25" y="0"/>
                  </a:cubicBezTo>
                  <a:lnTo>
                    <a:pt x="58" y="0"/>
                  </a:lnTo>
                  <a:cubicBezTo>
                    <a:pt x="72" y="0"/>
                    <a:pt x="83" y="11"/>
                    <a:pt x="83" y="25"/>
                  </a:cubicBezTo>
                  <a:cubicBezTo>
                    <a:pt x="83" y="38"/>
                    <a:pt x="72" y="50"/>
                    <a:pt x="58" y="50"/>
                  </a:cubicBez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form 1147"/>
            <p:cNvSpPr>
              <a:spLocks/>
            </p:cNvSpPr>
            <p:nvPr/>
          </p:nvSpPr>
          <p:spPr bwMode="auto">
            <a:xfrm>
              <a:off x="8404225" y="3627438"/>
              <a:ext cx="38100" cy="39688"/>
            </a:xfrm>
            <a:custGeom>
              <a:avLst/>
              <a:gdLst>
                <a:gd name="T0" fmla="*/ 45 w 74"/>
                <a:gd name="T1" fmla="*/ 79 h 79"/>
                <a:gd name="T2" fmla="*/ 24 w 74"/>
                <a:gd name="T3" fmla="*/ 66 h 79"/>
                <a:gd name="T4" fmla="*/ 7 w 74"/>
                <a:gd name="T5" fmla="*/ 37 h 79"/>
                <a:gd name="T6" fmla="*/ 16 w 74"/>
                <a:gd name="T7" fmla="*/ 3 h 79"/>
                <a:gd name="T8" fmla="*/ 28 w 74"/>
                <a:gd name="T9" fmla="*/ 0 h 79"/>
                <a:gd name="T10" fmla="*/ 50 w 74"/>
                <a:gd name="T11" fmla="*/ 12 h 79"/>
                <a:gd name="T12" fmla="*/ 67 w 74"/>
                <a:gd name="T13" fmla="*/ 41 h 79"/>
                <a:gd name="T14" fmla="*/ 58 w 74"/>
                <a:gd name="T15" fmla="*/ 75 h 79"/>
                <a:gd name="T16" fmla="*/ 45 w 74"/>
                <a:gd name="T1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79">
                  <a:moveTo>
                    <a:pt x="45" y="79"/>
                  </a:moveTo>
                  <a:cubicBezTo>
                    <a:pt x="37" y="79"/>
                    <a:pt x="28" y="74"/>
                    <a:pt x="24" y="66"/>
                  </a:cubicBezTo>
                  <a:lnTo>
                    <a:pt x="7" y="37"/>
                  </a:lnTo>
                  <a:cubicBezTo>
                    <a:pt x="0" y="25"/>
                    <a:pt x="4" y="10"/>
                    <a:pt x="16" y="3"/>
                  </a:cubicBezTo>
                  <a:cubicBezTo>
                    <a:pt x="20" y="1"/>
                    <a:pt x="24" y="0"/>
                    <a:pt x="28" y="0"/>
                  </a:cubicBezTo>
                  <a:cubicBezTo>
                    <a:pt x="37" y="0"/>
                    <a:pt x="46" y="4"/>
                    <a:pt x="50" y="12"/>
                  </a:cubicBezTo>
                  <a:lnTo>
                    <a:pt x="67" y="41"/>
                  </a:lnTo>
                  <a:cubicBezTo>
                    <a:pt x="74" y="53"/>
                    <a:pt x="70" y="68"/>
                    <a:pt x="58" y="75"/>
                  </a:cubicBezTo>
                  <a:cubicBezTo>
                    <a:pt x="54" y="78"/>
                    <a:pt x="49" y="79"/>
                    <a:pt x="45" y="79"/>
                  </a:cubicBez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form 1148"/>
            <p:cNvSpPr>
              <a:spLocks/>
            </p:cNvSpPr>
            <p:nvPr/>
          </p:nvSpPr>
          <p:spPr bwMode="auto">
            <a:xfrm>
              <a:off x="8624888" y="3689351"/>
              <a:ext cx="42863" cy="33338"/>
            </a:xfrm>
            <a:custGeom>
              <a:avLst/>
              <a:gdLst>
                <a:gd name="T0" fmla="*/ 28 w 86"/>
                <a:gd name="T1" fmla="*/ 66 h 66"/>
                <a:gd name="T2" fmla="*/ 7 w 86"/>
                <a:gd name="T3" fmla="*/ 54 h 66"/>
                <a:gd name="T4" fmla="*/ 16 w 86"/>
                <a:gd name="T5" fmla="*/ 20 h 66"/>
                <a:gd name="T6" fmla="*/ 45 w 86"/>
                <a:gd name="T7" fmla="*/ 3 h 66"/>
                <a:gd name="T8" fmla="*/ 57 w 86"/>
                <a:gd name="T9" fmla="*/ 0 h 66"/>
                <a:gd name="T10" fmla="*/ 79 w 86"/>
                <a:gd name="T11" fmla="*/ 12 h 66"/>
                <a:gd name="T12" fmla="*/ 70 w 86"/>
                <a:gd name="T13" fmla="*/ 46 h 66"/>
                <a:gd name="T14" fmla="*/ 41 w 86"/>
                <a:gd name="T15" fmla="*/ 63 h 66"/>
                <a:gd name="T16" fmla="*/ 28 w 86"/>
                <a:gd name="T1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66">
                  <a:moveTo>
                    <a:pt x="28" y="66"/>
                  </a:moveTo>
                  <a:cubicBezTo>
                    <a:pt x="20" y="66"/>
                    <a:pt x="11" y="62"/>
                    <a:pt x="7" y="54"/>
                  </a:cubicBezTo>
                  <a:cubicBezTo>
                    <a:pt x="0" y="42"/>
                    <a:pt x="4" y="27"/>
                    <a:pt x="16" y="20"/>
                  </a:cubicBezTo>
                  <a:lnTo>
                    <a:pt x="45" y="3"/>
                  </a:lnTo>
                  <a:cubicBezTo>
                    <a:pt x="49" y="1"/>
                    <a:pt x="53" y="0"/>
                    <a:pt x="57" y="0"/>
                  </a:cubicBezTo>
                  <a:cubicBezTo>
                    <a:pt x="66" y="0"/>
                    <a:pt x="74" y="4"/>
                    <a:pt x="79" y="12"/>
                  </a:cubicBezTo>
                  <a:cubicBezTo>
                    <a:pt x="86" y="24"/>
                    <a:pt x="82" y="40"/>
                    <a:pt x="70" y="46"/>
                  </a:cubicBezTo>
                  <a:lnTo>
                    <a:pt x="41" y="63"/>
                  </a:lnTo>
                  <a:cubicBezTo>
                    <a:pt x="37" y="65"/>
                    <a:pt x="33" y="66"/>
                    <a:pt x="28" y="66"/>
                  </a:cubicBez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form 1149"/>
            <p:cNvSpPr>
              <a:spLocks/>
            </p:cNvSpPr>
            <p:nvPr/>
          </p:nvSpPr>
          <p:spPr bwMode="auto">
            <a:xfrm>
              <a:off x="8342313" y="3852863"/>
              <a:ext cx="42863" cy="33338"/>
            </a:xfrm>
            <a:custGeom>
              <a:avLst/>
              <a:gdLst>
                <a:gd name="T0" fmla="*/ 28 w 86"/>
                <a:gd name="T1" fmla="*/ 66 h 66"/>
                <a:gd name="T2" fmla="*/ 7 w 86"/>
                <a:gd name="T3" fmla="*/ 54 h 66"/>
                <a:gd name="T4" fmla="*/ 16 w 86"/>
                <a:gd name="T5" fmla="*/ 20 h 66"/>
                <a:gd name="T6" fmla="*/ 45 w 86"/>
                <a:gd name="T7" fmla="*/ 3 h 66"/>
                <a:gd name="T8" fmla="*/ 57 w 86"/>
                <a:gd name="T9" fmla="*/ 0 h 66"/>
                <a:gd name="T10" fmla="*/ 79 w 86"/>
                <a:gd name="T11" fmla="*/ 12 h 66"/>
                <a:gd name="T12" fmla="*/ 70 w 86"/>
                <a:gd name="T13" fmla="*/ 46 h 66"/>
                <a:gd name="T14" fmla="*/ 41 w 86"/>
                <a:gd name="T15" fmla="*/ 63 h 66"/>
                <a:gd name="T16" fmla="*/ 28 w 86"/>
                <a:gd name="T1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66">
                  <a:moveTo>
                    <a:pt x="28" y="66"/>
                  </a:moveTo>
                  <a:cubicBezTo>
                    <a:pt x="20" y="66"/>
                    <a:pt x="11" y="62"/>
                    <a:pt x="7" y="54"/>
                  </a:cubicBezTo>
                  <a:cubicBezTo>
                    <a:pt x="0" y="42"/>
                    <a:pt x="4" y="27"/>
                    <a:pt x="16" y="20"/>
                  </a:cubicBezTo>
                  <a:lnTo>
                    <a:pt x="45" y="3"/>
                  </a:lnTo>
                  <a:cubicBezTo>
                    <a:pt x="49" y="1"/>
                    <a:pt x="53" y="0"/>
                    <a:pt x="57" y="0"/>
                  </a:cubicBezTo>
                  <a:cubicBezTo>
                    <a:pt x="66" y="0"/>
                    <a:pt x="74" y="4"/>
                    <a:pt x="79" y="12"/>
                  </a:cubicBezTo>
                  <a:cubicBezTo>
                    <a:pt x="86" y="24"/>
                    <a:pt x="82" y="40"/>
                    <a:pt x="70" y="46"/>
                  </a:cubicBezTo>
                  <a:lnTo>
                    <a:pt x="41" y="63"/>
                  </a:lnTo>
                  <a:cubicBezTo>
                    <a:pt x="37" y="65"/>
                    <a:pt x="33" y="66"/>
                    <a:pt x="28" y="66"/>
                  </a:cubicBez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Freeform 1150"/>
            <p:cNvSpPr>
              <a:spLocks/>
            </p:cNvSpPr>
            <p:nvPr/>
          </p:nvSpPr>
          <p:spPr bwMode="auto">
            <a:xfrm>
              <a:off x="8342313" y="3689351"/>
              <a:ext cx="42863" cy="33338"/>
            </a:xfrm>
            <a:custGeom>
              <a:avLst/>
              <a:gdLst>
                <a:gd name="T0" fmla="*/ 57 w 86"/>
                <a:gd name="T1" fmla="*/ 66 h 66"/>
                <a:gd name="T2" fmla="*/ 45 w 86"/>
                <a:gd name="T3" fmla="*/ 63 h 66"/>
                <a:gd name="T4" fmla="*/ 16 w 86"/>
                <a:gd name="T5" fmla="*/ 46 h 66"/>
                <a:gd name="T6" fmla="*/ 7 w 86"/>
                <a:gd name="T7" fmla="*/ 12 h 66"/>
                <a:gd name="T8" fmla="*/ 28 w 86"/>
                <a:gd name="T9" fmla="*/ 0 h 66"/>
                <a:gd name="T10" fmla="*/ 41 w 86"/>
                <a:gd name="T11" fmla="*/ 3 h 66"/>
                <a:gd name="T12" fmla="*/ 70 w 86"/>
                <a:gd name="T13" fmla="*/ 20 h 66"/>
                <a:gd name="T14" fmla="*/ 79 w 86"/>
                <a:gd name="T15" fmla="*/ 54 h 66"/>
                <a:gd name="T16" fmla="*/ 57 w 86"/>
                <a:gd name="T1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66">
                  <a:moveTo>
                    <a:pt x="57" y="66"/>
                  </a:moveTo>
                  <a:cubicBezTo>
                    <a:pt x="53" y="66"/>
                    <a:pt x="49" y="65"/>
                    <a:pt x="45" y="63"/>
                  </a:cubicBezTo>
                  <a:lnTo>
                    <a:pt x="16" y="46"/>
                  </a:lnTo>
                  <a:cubicBezTo>
                    <a:pt x="4" y="40"/>
                    <a:pt x="0" y="24"/>
                    <a:pt x="7" y="12"/>
                  </a:cubicBezTo>
                  <a:cubicBezTo>
                    <a:pt x="11" y="4"/>
                    <a:pt x="20" y="0"/>
                    <a:pt x="28" y="0"/>
                  </a:cubicBezTo>
                  <a:cubicBezTo>
                    <a:pt x="33" y="0"/>
                    <a:pt x="37" y="1"/>
                    <a:pt x="41" y="3"/>
                  </a:cubicBezTo>
                  <a:lnTo>
                    <a:pt x="70" y="20"/>
                  </a:lnTo>
                  <a:cubicBezTo>
                    <a:pt x="82" y="27"/>
                    <a:pt x="86" y="42"/>
                    <a:pt x="79" y="54"/>
                  </a:cubicBezTo>
                  <a:cubicBezTo>
                    <a:pt x="74" y="62"/>
                    <a:pt x="66" y="66"/>
                    <a:pt x="57" y="66"/>
                  </a:cubicBez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Freeform 1151"/>
            <p:cNvSpPr>
              <a:spLocks/>
            </p:cNvSpPr>
            <p:nvPr/>
          </p:nvSpPr>
          <p:spPr bwMode="auto">
            <a:xfrm>
              <a:off x="8624888" y="3852863"/>
              <a:ext cx="42863" cy="33338"/>
            </a:xfrm>
            <a:custGeom>
              <a:avLst/>
              <a:gdLst>
                <a:gd name="T0" fmla="*/ 57 w 86"/>
                <a:gd name="T1" fmla="*/ 66 h 66"/>
                <a:gd name="T2" fmla="*/ 45 w 86"/>
                <a:gd name="T3" fmla="*/ 63 h 66"/>
                <a:gd name="T4" fmla="*/ 16 w 86"/>
                <a:gd name="T5" fmla="*/ 46 h 66"/>
                <a:gd name="T6" fmla="*/ 7 w 86"/>
                <a:gd name="T7" fmla="*/ 12 h 66"/>
                <a:gd name="T8" fmla="*/ 28 w 86"/>
                <a:gd name="T9" fmla="*/ 0 h 66"/>
                <a:gd name="T10" fmla="*/ 41 w 86"/>
                <a:gd name="T11" fmla="*/ 3 h 66"/>
                <a:gd name="T12" fmla="*/ 70 w 86"/>
                <a:gd name="T13" fmla="*/ 20 h 66"/>
                <a:gd name="T14" fmla="*/ 79 w 86"/>
                <a:gd name="T15" fmla="*/ 54 h 66"/>
                <a:gd name="T16" fmla="*/ 57 w 86"/>
                <a:gd name="T1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66">
                  <a:moveTo>
                    <a:pt x="57" y="66"/>
                  </a:moveTo>
                  <a:cubicBezTo>
                    <a:pt x="53" y="66"/>
                    <a:pt x="49" y="65"/>
                    <a:pt x="45" y="63"/>
                  </a:cubicBezTo>
                  <a:lnTo>
                    <a:pt x="16" y="46"/>
                  </a:lnTo>
                  <a:cubicBezTo>
                    <a:pt x="4" y="40"/>
                    <a:pt x="0" y="24"/>
                    <a:pt x="7" y="12"/>
                  </a:cubicBezTo>
                  <a:cubicBezTo>
                    <a:pt x="11" y="4"/>
                    <a:pt x="20" y="0"/>
                    <a:pt x="28" y="0"/>
                  </a:cubicBezTo>
                  <a:cubicBezTo>
                    <a:pt x="33" y="0"/>
                    <a:pt x="37" y="1"/>
                    <a:pt x="41" y="3"/>
                  </a:cubicBezTo>
                  <a:lnTo>
                    <a:pt x="70" y="20"/>
                  </a:lnTo>
                  <a:cubicBezTo>
                    <a:pt x="82" y="27"/>
                    <a:pt x="86" y="42"/>
                    <a:pt x="79" y="54"/>
                  </a:cubicBezTo>
                  <a:cubicBezTo>
                    <a:pt x="74" y="62"/>
                    <a:pt x="66" y="66"/>
                    <a:pt x="57" y="66"/>
                  </a:cubicBez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Freeform 1152"/>
            <p:cNvSpPr>
              <a:spLocks/>
            </p:cNvSpPr>
            <p:nvPr/>
          </p:nvSpPr>
          <p:spPr bwMode="auto">
            <a:xfrm>
              <a:off x="8567738" y="3627438"/>
              <a:ext cx="36513" cy="39688"/>
            </a:xfrm>
            <a:custGeom>
              <a:avLst/>
              <a:gdLst>
                <a:gd name="T0" fmla="*/ 28 w 74"/>
                <a:gd name="T1" fmla="*/ 79 h 79"/>
                <a:gd name="T2" fmla="*/ 16 w 74"/>
                <a:gd name="T3" fmla="*/ 75 h 79"/>
                <a:gd name="T4" fmla="*/ 7 w 74"/>
                <a:gd name="T5" fmla="*/ 41 h 79"/>
                <a:gd name="T6" fmla="*/ 24 w 74"/>
                <a:gd name="T7" fmla="*/ 12 h 79"/>
                <a:gd name="T8" fmla="*/ 45 w 74"/>
                <a:gd name="T9" fmla="*/ 0 h 79"/>
                <a:gd name="T10" fmla="*/ 58 w 74"/>
                <a:gd name="T11" fmla="*/ 3 h 79"/>
                <a:gd name="T12" fmla="*/ 67 w 74"/>
                <a:gd name="T13" fmla="*/ 37 h 79"/>
                <a:gd name="T14" fmla="*/ 50 w 74"/>
                <a:gd name="T15" fmla="*/ 66 h 79"/>
                <a:gd name="T16" fmla="*/ 28 w 74"/>
                <a:gd name="T1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4" h="79">
                  <a:moveTo>
                    <a:pt x="28" y="79"/>
                  </a:moveTo>
                  <a:cubicBezTo>
                    <a:pt x="24" y="79"/>
                    <a:pt x="20" y="78"/>
                    <a:pt x="16" y="75"/>
                  </a:cubicBezTo>
                  <a:cubicBezTo>
                    <a:pt x="4" y="68"/>
                    <a:pt x="0" y="53"/>
                    <a:pt x="7" y="41"/>
                  </a:cubicBezTo>
                  <a:lnTo>
                    <a:pt x="24" y="12"/>
                  </a:lnTo>
                  <a:cubicBezTo>
                    <a:pt x="28" y="4"/>
                    <a:pt x="37" y="0"/>
                    <a:pt x="45" y="0"/>
                  </a:cubicBezTo>
                  <a:cubicBezTo>
                    <a:pt x="49" y="0"/>
                    <a:pt x="54" y="1"/>
                    <a:pt x="58" y="3"/>
                  </a:cubicBezTo>
                  <a:cubicBezTo>
                    <a:pt x="70" y="10"/>
                    <a:pt x="74" y="25"/>
                    <a:pt x="67" y="37"/>
                  </a:cubicBezTo>
                  <a:lnTo>
                    <a:pt x="50" y="66"/>
                  </a:lnTo>
                  <a:cubicBezTo>
                    <a:pt x="46" y="74"/>
                    <a:pt x="37" y="79"/>
                    <a:pt x="28" y="79"/>
                  </a:cubicBezTo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Oval 1153"/>
            <p:cNvSpPr>
              <a:spLocks noChangeArrowheads="1"/>
            </p:cNvSpPr>
            <p:nvPr/>
          </p:nvSpPr>
          <p:spPr bwMode="auto">
            <a:xfrm>
              <a:off x="8385175" y="3651251"/>
              <a:ext cx="239713" cy="23971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0" name="Freeform 1154"/>
            <p:cNvSpPr>
              <a:spLocks/>
            </p:cNvSpPr>
            <p:nvPr/>
          </p:nvSpPr>
          <p:spPr bwMode="auto">
            <a:xfrm>
              <a:off x="8491538" y="3587751"/>
              <a:ext cx="25400" cy="41275"/>
            </a:xfrm>
            <a:custGeom>
              <a:avLst/>
              <a:gdLst>
                <a:gd name="T0" fmla="*/ 50 w 50"/>
                <a:gd name="T1" fmla="*/ 58 h 83"/>
                <a:gd name="T2" fmla="*/ 25 w 50"/>
                <a:gd name="T3" fmla="*/ 83 h 83"/>
                <a:gd name="T4" fmla="*/ 0 w 50"/>
                <a:gd name="T5" fmla="*/ 58 h 83"/>
                <a:gd name="T6" fmla="*/ 0 w 50"/>
                <a:gd name="T7" fmla="*/ 25 h 83"/>
                <a:gd name="T8" fmla="*/ 25 w 50"/>
                <a:gd name="T9" fmla="*/ 0 h 83"/>
                <a:gd name="T10" fmla="*/ 50 w 50"/>
                <a:gd name="T11" fmla="*/ 25 h 83"/>
                <a:gd name="T12" fmla="*/ 50 w 50"/>
                <a:gd name="T13" fmla="*/ 5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83">
                  <a:moveTo>
                    <a:pt x="50" y="58"/>
                  </a:moveTo>
                  <a:cubicBezTo>
                    <a:pt x="50" y="72"/>
                    <a:pt x="39" y="83"/>
                    <a:pt x="25" y="83"/>
                  </a:cubicBezTo>
                  <a:cubicBezTo>
                    <a:pt x="12" y="83"/>
                    <a:pt x="0" y="72"/>
                    <a:pt x="0" y="58"/>
                  </a:cubicBezTo>
                  <a:lnTo>
                    <a:pt x="0" y="25"/>
                  </a:lnTo>
                  <a:cubicBezTo>
                    <a:pt x="0" y="11"/>
                    <a:pt x="12" y="0"/>
                    <a:pt x="25" y="0"/>
                  </a:cubicBezTo>
                  <a:cubicBezTo>
                    <a:pt x="39" y="0"/>
                    <a:pt x="50" y="11"/>
                    <a:pt x="50" y="25"/>
                  </a:cubicBezTo>
                  <a:lnTo>
                    <a:pt x="50" y="58"/>
                  </a:lnTo>
                  <a:close/>
                </a:path>
              </a:pathLst>
            </a:cu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1" name="Freeform 1155"/>
            <p:cNvSpPr>
              <a:spLocks/>
            </p:cNvSpPr>
            <p:nvPr/>
          </p:nvSpPr>
          <p:spPr bwMode="auto">
            <a:xfrm>
              <a:off x="8647113" y="3757613"/>
              <a:ext cx="41275" cy="25400"/>
            </a:xfrm>
            <a:custGeom>
              <a:avLst/>
              <a:gdLst>
                <a:gd name="T0" fmla="*/ 25 w 83"/>
                <a:gd name="T1" fmla="*/ 50 h 50"/>
                <a:gd name="T2" fmla="*/ 0 w 83"/>
                <a:gd name="T3" fmla="*/ 25 h 50"/>
                <a:gd name="T4" fmla="*/ 25 w 83"/>
                <a:gd name="T5" fmla="*/ 0 h 50"/>
                <a:gd name="T6" fmla="*/ 58 w 83"/>
                <a:gd name="T7" fmla="*/ 0 h 50"/>
                <a:gd name="T8" fmla="*/ 83 w 83"/>
                <a:gd name="T9" fmla="*/ 25 h 50"/>
                <a:gd name="T10" fmla="*/ 58 w 83"/>
                <a:gd name="T11" fmla="*/ 50 h 50"/>
                <a:gd name="T12" fmla="*/ 25 w 83"/>
                <a:gd name="T1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50">
                  <a:moveTo>
                    <a:pt x="25" y="50"/>
                  </a:moveTo>
                  <a:cubicBezTo>
                    <a:pt x="11" y="50"/>
                    <a:pt x="0" y="39"/>
                    <a:pt x="0" y="25"/>
                  </a:cubicBezTo>
                  <a:cubicBezTo>
                    <a:pt x="0" y="12"/>
                    <a:pt x="11" y="0"/>
                    <a:pt x="25" y="0"/>
                  </a:cubicBezTo>
                  <a:lnTo>
                    <a:pt x="58" y="0"/>
                  </a:lnTo>
                  <a:cubicBezTo>
                    <a:pt x="72" y="0"/>
                    <a:pt x="83" y="12"/>
                    <a:pt x="83" y="25"/>
                  </a:cubicBezTo>
                  <a:cubicBezTo>
                    <a:pt x="83" y="39"/>
                    <a:pt x="72" y="50"/>
                    <a:pt x="58" y="50"/>
                  </a:cubicBezTo>
                  <a:lnTo>
                    <a:pt x="25" y="50"/>
                  </a:lnTo>
                  <a:close/>
                </a:path>
              </a:pathLst>
            </a:cu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2" name="Freeform 1156"/>
            <p:cNvSpPr>
              <a:spLocks/>
            </p:cNvSpPr>
            <p:nvPr/>
          </p:nvSpPr>
          <p:spPr bwMode="auto">
            <a:xfrm>
              <a:off x="8321675" y="3757613"/>
              <a:ext cx="41275" cy="25400"/>
            </a:xfrm>
            <a:custGeom>
              <a:avLst/>
              <a:gdLst>
                <a:gd name="T0" fmla="*/ 58 w 83"/>
                <a:gd name="T1" fmla="*/ 0 h 50"/>
                <a:gd name="T2" fmla="*/ 83 w 83"/>
                <a:gd name="T3" fmla="*/ 25 h 50"/>
                <a:gd name="T4" fmla="*/ 58 w 83"/>
                <a:gd name="T5" fmla="*/ 50 h 50"/>
                <a:gd name="T6" fmla="*/ 25 w 83"/>
                <a:gd name="T7" fmla="*/ 50 h 50"/>
                <a:gd name="T8" fmla="*/ 0 w 83"/>
                <a:gd name="T9" fmla="*/ 25 h 50"/>
                <a:gd name="T10" fmla="*/ 25 w 83"/>
                <a:gd name="T11" fmla="*/ 0 h 50"/>
                <a:gd name="T12" fmla="*/ 58 w 83"/>
                <a:gd name="T13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50">
                  <a:moveTo>
                    <a:pt x="58" y="0"/>
                  </a:moveTo>
                  <a:cubicBezTo>
                    <a:pt x="72" y="0"/>
                    <a:pt x="83" y="12"/>
                    <a:pt x="83" y="25"/>
                  </a:cubicBezTo>
                  <a:cubicBezTo>
                    <a:pt x="83" y="39"/>
                    <a:pt x="72" y="50"/>
                    <a:pt x="58" y="50"/>
                  </a:cubicBezTo>
                  <a:lnTo>
                    <a:pt x="25" y="50"/>
                  </a:lnTo>
                  <a:cubicBezTo>
                    <a:pt x="11" y="50"/>
                    <a:pt x="0" y="39"/>
                    <a:pt x="0" y="25"/>
                  </a:cubicBezTo>
                  <a:cubicBezTo>
                    <a:pt x="0" y="12"/>
                    <a:pt x="11" y="0"/>
                    <a:pt x="25" y="0"/>
                  </a:cubicBezTo>
                  <a:lnTo>
                    <a:pt x="58" y="0"/>
                  </a:lnTo>
                  <a:close/>
                </a:path>
              </a:pathLst>
            </a:cu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3" name="Freeform 1157"/>
            <p:cNvSpPr>
              <a:spLocks/>
            </p:cNvSpPr>
            <p:nvPr/>
          </p:nvSpPr>
          <p:spPr bwMode="auto">
            <a:xfrm>
              <a:off x="8404225" y="3608388"/>
              <a:ext cx="38100" cy="42863"/>
            </a:xfrm>
            <a:custGeom>
              <a:avLst/>
              <a:gdLst>
                <a:gd name="T0" fmla="*/ 67 w 74"/>
                <a:gd name="T1" fmla="*/ 45 h 86"/>
                <a:gd name="T2" fmla="*/ 58 w 74"/>
                <a:gd name="T3" fmla="*/ 79 h 86"/>
                <a:gd name="T4" fmla="*/ 24 w 74"/>
                <a:gd name="T5" fmla="*/ 70 h 86"/>
                <a:gd name="T6" fmla="*/ 7 w 74"/>
                <a:gd name="T7" fmla="*/ 41 h 86"/>
                <a:gd name="T8" fmla="*/ 16 w 74"/>
                <a:gd name="T9" fmla="*/ 7 h 86"/>
                <a:gd name="T10" fmla="*/ 50 w 74"/>
                <a:gd name="T11" fmla="*/ 16 h 86"/>
                <a:gd name="T12" fmla="*/ 67 w 74"/>
                <a:gd name="T13" fmla="*/ 4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86">
                  <a:moveTo>
                    <a:pt x="67" y="45"/>
                  </a:moveTo>
                  <a:cubicBezTo>
                    <a:pt x="74" y="57"/>
                    <a:pt x="70" y="72"/>
                    <a:pt x="58" y="79"/>
                  </a:cubicBezTo>
                  <a:cubicBezTo>
                    <a:pt x="46" y="86"/>
                    <a:pt x="30" y="82"/>
                    <a:pt x="24" y="70"/>
                  </a:cubicBezTo>
                  <a:lnTo>
                    <a:pt x="7" y="41"/>
                  </a:lnTo>
                  <a:cubicBezTo>
                    <a:pt x="0" y="29"/>
                    <a:pt x="4" y="14"/>
                    <a:pt x="16" y="7"/>
                  </a:cubicBezTo>
                  <a:cubicBezTo>
                    <a:pt x="28" y="0"/>
                    <a:pt x="43" y="4"/>
                    <a:pt x="50" y="16"/>
                  </a:cubicBezTo>
                  <a:lnTo>
                    <a:pt x="67" y="45"/>
                  </a:lnTo>
                  <a:close/>
                </a:path>
              </a:pathLst>
            </a:cu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4" name="Freeform 1158"/>
            <p:cNvSpPr>
              <a:spLocks/>
            </p:cNvSpPr>
            <p:nvPr/>
          </p:nvSpPr>
          <p:spPr bwMode="auto">
            <a:xfrm>
              <a:off x="8624888" y="3671888"/>
              <a:ext cx="42863" cy="36513"/>
            </a:xfrm>
            <a:custGeom>
              <a:avLst/>
              <a:gdLst>
                <a:gd name="T0" fmla="*/ 41 w 86"/>
                <a:gd name="T1" fmla="*/ 67 h 74"/>
                <a:gd name="T2" fmla="*/ 7 w 86"/>
                <a:gd name="T3" fmla="*/ 58 h 74"/>
                <a:gd name="T4" fmla="*/ 16 w 86"/>
                <a:gd name="T5" fmla="*/ 24 h 74"/>
                <a:gd name="T6" fmla="*/ 45 w 86"/>
                <a:gd name="T7" fmla="*/ 7 h 74"/>
                <a:gd name="T8" fmla="*/ 79 w 86"/>
                <a:gd name="T9" fmla="*/ 16 h 74"/>
                <a:gd name="T10" fmla="*/ 70 w 86"/>
                <a:gd name="T11" fmla="*/ 50 h 74"/>
                <a:gd name="T12" fmla="*/ 41 w 86"/>
                <a:gd name="T13" fmla="*/ 6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74">
                  <a:moveTo>
                    <a:pt x="41" y="67"/>
                  </a:moveTo>
                  <a:cubicBezTo>
                    <a:pt x="29" y="74"/>
                    <a:pt x="14" y="70"/>
                    <a:pt x="7" y="58"/>
                  </a:cubicBezTo>
                  <a:cubicBezTo>
                    <a:pt x="0" y="46"/>
                    <a:pt x="4" y="30"/>
                    <a:pt x="16" y="24"/>
                  </a:cubicBezTo>
                  <a:lnTo>
                    <a:pt x="45" y="7"/>
                  </a:lnTo>
                  <a:cubicBezTo>
                    <a:pt x="57" y="0"/>
                    <a:pt x="72" y="4"/>
                    <a:pt x="79" y="16"/>
                  </a:cubicBezTo>
                  <a:cubicBezTo>
                    <a:pt x="86" y="28"/>
                    <a:pt x="82" y="43"/>
                    <a:pt x="70" y="50"/>
                  </a:cubicBezTo>
                  <a:lnTo>
                    <a:pt x="41" y="67"/>
                  </a:lnTo>
                  <a:close/>
                </a:path>
              </a:pathLst>
            </a:cu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5" name="Freeform 1159"/>
            <p:cNvSpPr>
              <a:spLocks/>
            </p:cNvSpPr>
            <p:nvPr/>
          </p:nvSpPr>
          <p:spPr bwMode="auto">
            <a:xfrm>
              <a:off x="8342313" y="3833813"/>
              <a:ext cx="42863" cy="36513"/>
            </a:xfrm>
            <a:custGeom>
              <a:avLst/>
              <a:gdLst>
                <a:gd name="T0" fmla="*/ 45 w 86"/>
                <a:gd name="T1" fmla="*/ 7 h 74"/>
                <a:gd name="T2" fmla="*/ 79 w 86"/>
                <a:gd name="T3" fmla="*/ 16 h 74"/>
                <a:gd name="T4" fmla="*/ 70 w 86"/>
                <a:gd name="T5" fmla="*/ 50 h 74"/>
                <a:gd name="T6" fmla="*/ 41 w 86"/>
                <a:gd name="T7" fmla="*/ 67 h 74"/>
                <a:gd name="T8" fmla="*/ 7 w 86"/>
                <a:gd name="T9" fmla="*/ 58 h 74"/>
                <a:gd name="T10" fmla="*/ 16 w 86"/>
                <a:gd name="T11" fmla="*/ 24 h 74"/>
                <a:gd name="T12" fmla="*/ 45 w 86"/>
                <a:gd name="T13" fmla="*/ 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74">
                  <a:moveTo>
                    <a:pt x="45" y="7"/>
                  </a:moveTo>
                  <a:cubicBezTo>
                    <a:pt x="57" y="0"/>
                    <a:pt x="72" y="4"/>
                    <a:pt x="79" y="16"/>
                  </a:cubicBezTo>
                  <a:cubicBezTo>
                    <a:pt x="86" y="28"/>
                    <a:pt x="82" y="43"/>
                    <a:pt x="70" y="50"/>
                  </a:cubicBezTo>
                  <a:lnTo>
                    <a:pt x="41" y="67"/>
                  </a:lnTo>
                  <a:cubicBezTo>
                    <a:pt x="29" y="74"/>
                    <a:pt x="14" y="70"/>
                    <a:pt x="7" y="58"/>
                  </a:cubicBezTo>
                  <a:cubicBezTo>
                    <a:pt x="0" y="46"/>
                    <a:pt x="4" y="30"/>
                    <a:pt x="16" y="24"/>
                  </a:cubicBezTo>
                  <a:lnTo>
                    <a:pt x="45" y="7"/>
                  </a:lnTo>
                  <a:close/>
                </a:path>
              </a:pathLst>
            </a:cu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6" name="Freeform 1160"/>
            <p:cNvSpPr>
              <a:spLocks/>
            </p:cNvSpPr>
            <p:nvPr/>
          </p:nvSpPr>
          <p:spPr bwMode="auto">
            <a:xfrm>
              <a:off x="8342313" y="3671888"/>
              <a:ext cx="42863" cy="36513"/>
            </a:xfrm>
            <a:custGeom>
              <a:avLst/>
              <a:gdLst>
                <a:gd name="T0" fmla="*/ 70 w 86"/>
                <a:gd name="T1" fmla="*/ 24 h 74"/>
                <a:gd name="T2" fmla="*/ 79 w 86"/>
                <a:gd name="T3" fmla="*/ 58 h 74"/>
                <a:gd name="T4" fmla="*/ 45 w 86"/>
                <a:gd name="T5" fmla="*/ 67 h 74"/>
                <a:gd name="T6" fmla="*/ 16 w 86"/>
                <a:gd name="T7" fmla="*/ 50 h 74"/>
                <a:gd name="T8" fmla="*/ 7 w 86"/>
                <a:gd name="T9" fmla="*/ 16 h 74"/>
                <a:gd name="T10" fmla="*/ 41 w 86"/>
                <a:gd name="T11" fmla="*/ 7 h 74"/>
                <a:gd name="T12" fmla="*/ 70 w 86"/>
                <a:gd name="T13" fmla="*/ 2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74">
                  <a:moveTo>
                    <a:pt x="70" y="24"/>
                  </a:moveTo>
                  <a:cubicBezTo>
                    <a:pt x="82" y="30"/>
                    <a:pt x="86" y="46"/>
                    <a:pt x="79" y="58"/>
                  </a:cubicBezTo>
                  <a:cubicBezTo>
                    <a:pt x="72" y="70"/>
                    <a:pt x="57" y="74"/>
                    <a:pt x="45" y="67"/>
                  </a:cubicBezTo>
                  <a:lnTo>
                    <a:pt x="16" y="50"/>
                  </a:lnTo>
                  <a:cubicBezTo>
                    <a:pt x="4" y="43"/>
                    <a:pt x="0" y="28"/>
                    <a:pt x="7" y="16"/>
                  </a:cubicBezTo>
                  <a:cubicBezTo>
                    <a:pt x="14" y="4"/>
                    <a:pt x="29" y="0"/>
                    <a:pt x="41" y="7"/>
                  </a:cubicBezTo>
                  <a:lnTo>
                    <a:pt x="70" y="24"/>
                  </a:lnTo>
                  <a:close/>
                </a:path>
              </a:pathLst>
            </a:cu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7" name="Freeform 1161"/>
            <p:cNvSpPr>
              <a:spLocks/>
            </p:cNvSpPr>
            <p:nvPr/>
          </p:nvSpPr>
          <p:spPr bwMode="auto">
            <a:xfrm>
              <a:off x="8624888" y="3833813"/>
              <a:ext cx="42863" cy="36513"/>
            </a:xfrm>
            <a:custGeom>
              <a:avLst/>
              <a:gdLst>
                <a:gd name="T0" fmla="*/ 16 w 86"/>
                <a:gd name="T1" fmla="*/ 50 h 74"/>
                <a:gd name="T2" fmla="*/ 7 w 86"/>
                <a:gd name="T3" fmla="*/ 16 h 74"/>
                <a:gd name="T4" fmla="*/ 41 w 86"/>
                <a:gd name="T5" fmla="*/ 7 h 74"/>
                <a:gd name="T6" fmla="*/ 70 w 86"/>
                <a:gd name="T7" fmla="*/ 24 h 74"/>
                <a:gd name="T8" fmla="*/ 79 w 86"/>
                <a:gd name="T9" fmla="*/ 58 h 74"/>
                <a:gd name="T10" fmla="*/ 45 w 86"/>
                <a:gd name="T11" fmla="*/ 67 h 74"/>
                <a:gd name="T12" fmla="*/ 16 w 86"/>
                <a:gd name="T13" fmla="*/ 5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74">
                  <a:moveTo>
                    <a:pt x="16" y="50"/>
                  </a:moveTo>
                  <a:cubicBezTo>
                    <a:pt x="4" y="43"/>
                    <a:pt x="0" y="28"/>
                    <a:pt x="7" y="16"/>
                  </a:cubicBezTo>
                  <a:cubicBezTo>
                    <a:pt x="14" y="4"/>
                    <a:pt x="29" y="0"/>
                    <a:pt x="41" y="7"/>
                  </a:cubicBezTo>
                  <a:lnTo>
                    <a:pt x="70" y="24"/>
                  </a:lnTo>
                  <a:cubicBezTo>
                    <a:pt x="82" y="30"/>
                    <a:pt x="86" y="46"/>
                    <a:pt x="79" y="58"/>
                  </a:cubicBezTo>
                  <a:cubicBezTo>
                    <a:pt x="72" y="70"/>
                    <a:pt x="57" y="74"/>
                    <a:pt x="45" y="67"/>
                  </a:cubicBezTo>
                  <a:lnTo>
                    <a:pt x="16" y="50"/>
                  </a:lnTo>
                  <a:close/>
                </a:path>
              </a:pathLst>
            </a:cu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8" name="Freeform 1162"/>
            <p:cNvSpPr>
              <a:spLocks/>
            </p:cNvSpPr>
            <p:nvPr/>
          </p:nvSpPr>
          <p:spPr bwMode="auto">
            <a:xfrm>
              <a:off x="8567738" y="3608388"/>
              <a:ext cx="36513" cy="42863"/>
            </a:xfrm>
            <a:custGeom>
              <a:avLst/>
              <a:gdLst>
                <a:gd name="T0" fmla="*/ 50 w 74"/>
                <a:gd name="T1" fmla="*/ 70 h 86"/>
                <a:gd name="T2" fmla="*/ 16 w 74"/>
                <a:gd name="T3" fmla="*/ 79 h 86"/>
                <a:gd name="T4" fmla="*/ 7 w 74"/>
                <a:gd name="T5" fmla="*/ 45 h 86"/>
                <a:gd name="T6" fmla="*/ 24 w 74"/>
                <a:gd name="T7" fmla="*/ 16 h 86"/>
                <a:gd name="T8" fmla="*/ 58 w 74"/>
                <a:gd name="T9" fmla="*/ 7 h 86"/>
                <a:gd name="T10" fmla="*/ 67 w 74"/>
                <a:gd name="T11" fmla="*/ 41 h 86"/>
                <a:gd name="T12" fmla="*/ 50 w 74"/>
                <a:gd name="T13" fmla="*/ 7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86">
                  <a:moveTo>
                    <a:pt x="50" y="70"/>
                  </a:moveTo>
                  <a:cubicBezTo>
                    <a:pt x="43" y="82"/>
                    <a:pt x="28" y="86"/>
                    <a:pt x="16" y="79"/>
                  </a:cubicBezTo>
                  <a:cubicBezTo>
                    <a:pt x="4" y="72"/>
                    <a:pt x="0" y="57"/>
                    <a:pt x="7" y="45"/>
                  </a:cubicBezTo>
                  <a:lnTo>
                    <a:pt x="24" y="16"/>
                  </a:lnTo>
                  <a:cubicBezTo>
                    <a:pt x="30" y="4"/>
                    <a:pt x="46" y="0"/>
                    <a:pt x="58" y="7"/>
                  </a:cubicBezTo>
                  <a:cubicBezTo>
                    <a:pt x="70" y="14"/>
                    <a:pt x="74" y="29"/>
                    <a:pt x="67" y="41"/>
                  </a:cubicBezTo>
                  <a:lnTo>
                    <a:pt x="50" y="70"/>
                  </a:lnTo>
                  <a:close/>
                </a:path>
              </a:pathLst>
            </a:custGeom>
            <a:solidFill>
              <a:srgbClr val="E1E3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32" name="School2"/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8559079" y="995769"/>
            <a:ext cx="1330921" cy="1328364"/>
            <a:chOff x="946150" y="5499100"/>
            <a:chExt cx="825500" cy="823913"/>
          </a:xfrm>
        </p:grpSpPr>
        <p:sp>
          <p:nvSpPr>
            <p:cNvPr id="133" name="Oval 1298"/>
            <p:cNvSpPr>
              <a:spLocks noChangeArrowheads="1"/>
            </p:cNvSpPr>
            <p:nvPr/>
          </p:nvSpPr>
          <p:spPr bwMode="auto">
            <a:xfrm>
              <a:off x="946150" y="5499100"/>
              <a:ext cx="825500" cy="823913"/>
            </a:xfrm>
            <a:prstGeom prst="ellipse">
              <a:avLst/>
            </a:prstGeom>
            <a:solidFill>
              <a:srgbClr val="ACDC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Freeform 1321"/>
            <p:cNvSpPr>
              <a:spLocks/>
            </p:cNvSpPr>
            <p:nvPr/>
          </p:nvSpPr>
          <p:spPr bwMode="auto">
            <a:xfrm>
              <a:off x="1481138" y="6299200"/>
              <a:ext cx="15875" cy="6350"/>
            </a:xfrm>
            <a:custGeom>
              <a:avLst/>
              <a:gdLst>
                <a:gd name="T0" fmla="*/ 1 w 38"/>
                <a:gd name="T1" fmla="*/ 13 h 13"/>
                <a:gd name="T2" fmla="*/ 0 w 38"/>
                <a:gd name="T3" fmla="*/ 13 h 13"/>
                <a:gd name="T4" fmla="*/ 38 w 38"/>
                <a:gd name="T5" fmla="*/ 0 h 13"/>
                <a:gd name="T6" fmla="*/ 1 w 38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13">
                  <a:moveTo>
                    <a:pt x="1" y="13"/>
                  </a:moveTo>
                  <a:lnTo>
                    <a:pt x="0" y="13"/>
                  </a:lnTo>
                  <a:cubicBezTo>
                    <a:pt x="13" y="9"/>
                    <a:pt x="26" y="5"/>
                    <a:pt x="38" y="0"/>
                  </a:cubicBezTo>
                  <a:cubicBezTo>
                    <a:pt x="26" y="5"/>
                    <a:pt x="13" y="9"/>
                    <a:pt x="1" y="13"/>
                  </a:cubicBezTo>
                  <a:close/>
                </a:path>
              </a:pathLst>
            </a:custGeom>
            <a:solidFill>
              <a:srgbClr val="B8D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Freeform 1322"/>
            <p:cNvSpPr>
              <a:spLocks/>
            </p:cNvSpPr>
            <p:nvPr/>
          </p:nvSpPr>
          <p:spPr bwMode="auto">
            <a:xfrm>
              <a:off x="1176338" y="5699125"/>
              <a:ext cx="592138" cy="606425"/>
            </a:xfrm>
            <a:custGeom>
              <a:avLst/>
              <a:gdLst>
                <a:gd name="T0" fmla="*/ 708 w 1377"/>
                <a:gd name="T1" fmla="*/ 1407 h 1407"/>
                <a:gd name="T2" fmla="*/ 0 w 1377"/>
                <a:gd name="T3" fmla="*/ 712 h 1407"/>
                <a:gd name="T4" fmla="*/ 266 w 1377"/>
                <a:gd name="T5" fmla="*/ 686 h 1407"/>
                <a:gd name="T6" fmla="*/ 243 w 1377"/>
                <a:gd name="T7" fmla="*/ 248 h 1407"/>
                <a:gd name="T8" fmla="*/ 685 w 1377"/>
                <a:gd name="T9" fmla="*/ 0 h 1407"/>
                <a:gd name="T10" fmla="*/ 1377 w 1377"/>
                <a:gd name="T11" fmla="*/ 567 h 1407"/>
                <a:gd name="T12" fmla="*/ 746 w 1377"/>
                <a:gd name="T13" fmla="*/ 1394 h 1407"/>
                <a:gd name="T14" fmla="*/ 708 w 1377"/>
                <a:gd name="T15" fmla="*/ 1407 h 1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77" h="1407">
                  <a:moveTo>
                    <a:pt x="708" y="1407"/>
                  </a:moveTo>
                  <a:lnTo>
                    <a:pt x="0" y="712"/>
                  </a:lnTo>
                  <a:lnTo>
                    <a:pt x="266" y="686"/>
                  </a:lnTo>
                  <a:lnTo>
                    <a:pt x="243" y="248"/>
                  </a:lnTo>
                  <a:lnTo>
                    <a:pt x="685" y="0"/>
                  </a:lnTo>
                  <a:lnTo>
                    <a:pt x="1377" y="567"/>
                  </a:lnTo>
                  <a:cubicBezTo>
                    <a:pt x="1343" y="948"/>
                    <a:pt x="1091" y="1266"/>
                    <a:pt x="746" y="1394"/>
                  </a:cubicBezTo>
                  <a:cubicBezTo>
                    <a:pt x="734" y="1399"/>
                    <a:pt x="721" y="1403"/>
                    <a:pt x="708" y="1407"/>
                  </a:cubicBezTo>
                </a:path>
              </a:pathLst>
            </a:custGeom>
            <a:solidFill>
              <a:srgbClr val="7DC1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" name="Freeform 2165"/>
            <p:cNvSpPr>
              <a:spLocks/>
            </p:cNvSpPr>
            <p:nvPr/>
          </p:nvSpPr>
          <p:spPr bwMode="auto">
            <a:xfrm>
              <a:off x="1135063" y="5740400"/>
              <a:ext cx="455613" cy="441325"/>
            </a:xfrm>
            <a:custGeom>
              <a:avLst/>
              <a:gdLst>
                <a:gd name="T0" fmla="*/ 1038 w 1060"/>
                <a:gd name="T1" fmla="*/ 558 h 1026"/>
                <a:gd name="T2" fmla="*/ 707 w 1060"/>
                <a:gd name="T3" fmla="*/ 992 h 1026"/>
                <a:gd name="T4" fmla="*/ 613 w 1060"/>
                <a:gd name="T5" fmla="*/ 1004 h 1026"/>
                <a:gd name="T6" fmla="*/ 35 w 1060"/>
                <a:gd name="T7" fmla="*/ 562 h 1026"/>
                <a:gd name="T8" fmla="*/ 22 w 1060"/>
                <a:gd name="T9" fmla="*/ 469 h 1026"/>
                <a:gd name="T10" fmla="*/ 354 w 1060"/>
                <a:gd name="T11" fmla="*/ 35 h 1026"/>
                <a:gd name="T12" fmla="*/ 447 w 1060"/>
                <a:gd name="T13" fmla="*/ 22 h 1026"/>
                <a:gd name="T14" fmla="*/ 1026 w 1060"/>
                <a:gd name="T15" fmla="*/ 464 h 1026"/>
                <a:gd name="T16" fmla="*/ 1038 w 1060"/>
                <a:gd name="T17" fmla="*/ 558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0" h="1026">
                  <a:moveTo>
                    <a:pt x="1038" y="558"/>
                  </a:moveTo>
                  <a:lnTo>
                    <a:pt x="707" y="992"/>
                  </a:lnTo>
                  <a:cubicBezTo>
                    <a:pt x="684" y="1021"/>
                    <a:pt x="642" y="1026"/>
                    <a:pt x="613" y="1004"/>
                  </a:cubicBezTo>
                  <a:lnTo>
                    <a:pt x="35" y="562"/>
                  </a:lnTo>
                  <a:cubicBezTo>
                    <a:pt x="6" y="540"/>
                    <a:pt x="0" y="498"/>
                    <a:pt x="22" y="469"/>
                  </a:cubicBezTo>
                  <a:lnTo>
                    <a:pt x="354" y="35"/>
                  </a:lnTo>
                  <a:cubicBezTo>
                    <a:pt x="376" y="6"/>
                    <a:pt x="418" y="0"/>
                    <a:pt x="447" y="22"/>
                  </a:cubicBezTo>
                  <a:lnTo>
                    <a:pt x="1026" y="464"/>
                  </a:lnTo>
                  <a:cubicBezTo>
                    <a:pt x="1055" y="487"/>
                    <a:pt x="1060" y="529"/>
                    <a:pt x="1038" y="558"/>
                  </a:cubicBezTo>
                  <a:close/>
                </a:path>
              </a:pathLst>
            </a:custGeom>
            <a:solidFill>
              <a:srgbClr val="4248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" name="Freeform 2166"/>
            <p:cNvSpPr>
              <a:spLocks/>
            </p:cNvSpPr>
            <p:nvPr/>
          </p:nvSpPr>
          <p:spPr bwMode="auto">
            <a:xfrm>
              <a:off x="1120775" y="5954712"/>
              <a:ext cx="306388" cy="242888"/>
            </a:xfrm>
            <a:custGeom>
              <a:avLst/>
              <a:gdLst>
                <a:gd name="T0" fmla="*/ 29 w 713"/>
                <a:gd name="T1" fmla="*/ 0 h 562"/>
                <a:gd name="T2" fmla="*/ 3 w 713"/>
                <a:gd name="T3" fmla="*/ 33 h 562"/>
                <a:gd name="T4" fmla="*/ 673 w 713"/>
                <a:gd name="T5" fmla="*/ 558 h 562"/>
                <a:gd name="T6" fmla="*/ 698 w 713"/>
                <a:gd name="T7" fmla="*/ 543 h 562"/>
                <a:gd name="T8" fmla="*/ 699 w 713"/>
                <a:gd name="T9" fmla="*/ 512 h 562"/>
                <a:gd name="T10" fmla="*/ 669 w 713"/>
                <a:gd name="T11" fmla="*/ 521 h 562"/>
                <a:gd name="T12" fmla="*/ 670 w 713"/>
                <a:gd name="T13" fmla="*/ 490 h 562"/>
                <a:gd name="T14" fmla="*/ 639 w 713"/>
                <a:gd name="T15" fmla="*/ 499 h 562"/>
                <a:gd name="T16" fmla="*/ 640 w 713"/>
                <a:gd name="T17" fmla="*/ 467 h 562"/>
                <a:gd name="T18" fmla="*/ 610 w 713"/>
                <a:gd name="T19" fmla="*/ 476 h 562"/>
                <a:gd name="T20" fmla="*/ 611 w 713"/>
                <a:gd name="T21" fmla="*/ 445 h 562"/>
                <a:gd name="T22" fmla="*/ 581 w 713"/>
                <a:gd name="T23" fmla="*/ 454 h 562"/>
                <a:gd name="T24" fmla="*/ 583 w 713"/>
                <a:gd name="T25" fmla="*/ 423 h 562"/>
                <a:gd name="T26" fmla="*/ 552 w 713"/>
                <a:gd name="T27" fmla="*/ 432 h 562"/>
                <a:gd name="T28" fmla="*/ 553 w 713"/>
                <a:gd name="T29" fmla="*/ 400 h 562"/>
                <a:gd name="T30" fmla="*/ 522 w 713"/>
                <a:gd name="T31" fmla="*/ 409 h 562"/>
                <a:gd name="T32" fmla="*/ 523 w 713"/>
                <a:gd name="T33" fmla="*/ 378 h 562"/>
                <a:gd name="T34" fmla="*/ 494 w 713"/>
                <a:gd name="T35" fmla="*/ 388 h 562"/>
                <a:gd name="T36" fmla="*/ 495 w 713"/>
                <a:gd name="T37" fmla="*/ 356 h 562"/>
                <a:gd name="T38" fmla="*/ 464 w 713"/>
                <a:gd name="T39" fmla="*/ 365 h 562"/>
                <a:gd name="T40" fmla="*/ 465 w 713"/>
                <a:gd name="T41" fmla="*/ 333 h 562"/>
                <a:gd name="T42" fmla="*/ 435 w 713"/>
                <a:gd name="T43" fmla="*/ 342 h 562"/>
                <a:gd name="T44" fmla="*/ 436 w 713"/>
                <a:gd name="T45" fmla="*/ 311 h 562"/>
                <a:gd name="T46" fmla="*/ 406 w 713"/>
                <a:gd name="T47" fmla="*/ 321 h 562"/>
                <a:gd name="T48" fmla="*/ 407 w 713"/>
                <a:gd name="T49" fmla="*/ 289 h 562"/>
                <a:gd name="T50" fmla="*/ 376 w 713"/>
                <a:gd name="T51" fmla="*/ 298 h 562"/>
                <a:gd name="T52" fmla="*/ 378 w 713"/>
                <a:gd name="T53" fmla="*/ 266 h 562"/>
                <a:gd name="T54" fmla="*/ 349 w 713"/>
                <a:gd name="T55" fmla="*/ 277 h 562"/>
                <a:gd name="T56" fmla="*/ 350 w 713"/>
                <a:gd name="T57" fmla="*/ 245 h 562"/>
                <a:gd name="T58" fmla="*/ 321 w 713"/>
                <a:gd name="T59" fmla="*/ 255 h 562"/>
                <a:gd name="T60" fmla="*/ 322 w 713"/>
                <a:gd name="T61" fmla="*/ 224 h 562"/>
                <a:gd name="T62" fmla="*/ 291 w 713"/>
                <a:gd name="T63" fmla="*/ 232 h 562"/>
                <a:gd name="T64" fmla="*/ 292 w 713"/>
                <a:gd name="T65" fmla="*/ 201 h 562"/>
                <a:gd name="T66" fmla="*/ 261 w 713"/>
                <a:gd name="T67" fmla="*/ 210 h 562"/>
                <a:gd name="T68" fmla="*/ 262 w 713"/>
                <a:gd name="T69" fmla="*/ 178 h 562"/>
                <a:gd name="T70" fmla="*/ 233 w 713"/>
                <a:gd name="T71" fmla="*/ 188 h 562"/>
                <a:gd name="T72" fmla="*/ 234 w 713"/>
                <a:gd name="T73" fmla="*/ 157 h 562"/>
                <a:gd name="T74" fmla="*/ 203 w 713"/>
                <a:gd name="T75" fmla="*/ 165 h 562"/>
                <a:gd name="T76" fmla="*/ 204 w 713"/>
                <a:gd name="T77" fmla="*/ 134 h 562"/>
                <a:gd name="T78" fmla="*/ 174 w 713"/>
                <a:gd name="T79" fmla="*/ 143 h 562"/>
                <a:gd name="T80" fmla="*/ 175 w 713"/>
                <a:gd name="T81" fmla="*/ 111 h 562"/>
                <a:gd name="T82" fmla="*/ 145 w 713"/>
                <a:gd name="T83" fmla="*/ 121 h 562"/>
                <a:gd name="T84" fmla="*/ 146 w 713"/>
                <a:gd name="T85" fmla="*/ 90 h 562"/>
                <a:gd name="T86" fmla="*/ 115 w 713"/>
                <a:gd name="T87" fmla="*/ 98 h 562"/>
                <a:gd name="T88" fmla="*/ 117 w 713"/>
                <a:gd name="T89" fmla="*/ 67 h 562"/>
                <a:gd name="T90" fmla="*/ 86 w 713"/>
                <a:gd name="T91" fmla="*/ 76 h 562"/>
                <a:gd name="T92" fmla="*/ 87 w 713"/>
                <a:gd name="T93" fmla="*/ 44 h 562"/>
                <a:gd name="T94" fmla="*/ 58 w 713"/>
                <a:gd name="T95" fmla="*/ 54 h 562"/>
                <a:gd name="T96" fmla="*/ 59 w 713"/>
                <a:gd name="T97" fmla="*/ 23 h 562"/>
                <a:gd name="T98" fmla="*/ 28 w 713"/>
                <a:gd name="T99" fmla="*/ 31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13" h="562">
                  <a:moveTo>
                    <a:pt x="43" y="11"/>
                  </a:moveTo>
                  <a:lnTo>
                    <a:pt x="29" y="0"/>
                  </a:lnTo>
                  <a:lnTo>
                    <a:pt x="13" y="20"/>
                  </a:lnTo>
                  <a:lnTo>
                    <a:pt x="3" y="33"/>
                  </a:lnTo>
                  <a:cubicBezTo>
                    <a:pt x="0" y="38"/>
                    <a:pt x="1" y="45"/>
                    <a:pt x="5" y="48"/>
                  </a:cubicBezTo>
                  <a:lnTo>
                    <a:pt x="673" y="558"/>
                  </a:lnTo>
                  <a:cubicBezTo>
                    <a:pt x="677" y="562"/>
                    <a:pt x="684" y="561"/>
                    <a:pt x="688" y="556"/>
                  </a:cubicBezTo>
                  <a:lnTo>
                    <a:pt x="698" y="543"/>
                  </a:lnTo>
                  <a:lnTo>
                    <a:pt x="713" y="523"/>
                  </a:lnTo>
                  <a:lnTo>
                    <a:pt x="699" y="512"/>
                  </a:lnTo>
                  <a:lnTo>
                    <a:pt x="683" y="532"/>
                  </a:lnTo>
                  <a:lnTo>
                    <a:pt x="669" y="521"/>
                  </a:lnTo>
                  <a:lnTo>
                    <a:pt x="685" y="501"/>
                  </a:lnTo>
                  <a:lnTo>
                    <a:pt x="670" y="490"/>
                  </a:lnTo>
                  <a:lnTo>
                    <a:pt x="655" y="510"/>
                  </a:lnTo>
                  <a:lnTo>
                    <a:pt x="639" y="499"/>
                  </a:lnTo>
                  <a:lnTo>
                    <a:pt x="655" y="478"/>
                  </a:lnTo>
                  <a:lnTo>
                    <a:pt x="640" y="467"/>
                  </a:lnTo>
                  <a:lnTo>
                    <a:pt x="625" y="488"/>
                  </a:lnTo>
                  <a:lnTo>
                    <a:pt x="610" y="476"/>
                  </a:lnTo>
                  <a:lnTo>
                    <a:pt x="625" y="456"/>
                  </a:lnTo>
                  <a:lnTo>
                    <a:pt x="611" y="445"/>
                  </a:lnTo>
                  <a:lnTo>
                    <a:pt x="595" y="465"/>
                  </a:lnTo>
                  <a:lnTo>
                    <a:pt x="581" y="454"/>
                  </a:lnTo>
                  <a:lnTo>
                    <a:pt x="597" y="434"/>
                  </a:lnTo>
                  <a:lnTo>
                    <a:pt x="583" y="423"/>
                  </a:lnTo>
                  <a:lnTo>
                    <a:pt x="567" y="443"/>
                  </a:lnTo>
                  <a:lnTo>
                    <a:pt x="552" y="432"/>
                  </a:lnTo>
                  <a:lnTo>
                    <a:pt x="567" y="411"/>
                  </a:lnTo>
                  <a:lnTo>
                    <a:pt x="553" y="400"/>
                  </a:lnTo>
                  <a:lnTo>
                    <a:pt x="537" y="421"/>
                  </a:lnTo>
                  <a:lnTo>
                    <a:pt x="522" y="409"/>
                  </a:lnTo>
                  <a:lnTo>
                    <a:pt x="538" y="389"/>
                  </a:lnTo>
                  <a:lnTo>
                    <a:pt x="523" y="378"/>
                  </a:lnTo>
                  <a:lnTo>
                    <a:pt x="508" y="398"/>
                  </a:lnTo>
                  <a:lnTo>
                    <a:pt x="494" y="388"/>
                  </a:lnTo>
                  <a:lnTo>
                    <a:pt x="509" y="367"/>
                  </a:lnTo>
                  <a:lnTo>
                    <a:pt x="495" y="356"/>
                  </a:lnTo>
                  <a:lnTo>
                    <a:pt x="479" y="376"/>
                  </a:lnTo>
                  <a:lnTo>
                    <a:pt x="464" y="365"/>
                  </a:lnTo>
                  <a:lnTo>
                    <a:pt x="480" y="344"/>
                  </a:lnTo>
                  <a:lnTo>
                    <a:pt x="465" y="333"/>
                  </a:lnTo>
                  <a:lnTo>
                    <a:pt x="450" y="354"/>
                  </a:lnTo>
                  <a:lnTo>
                    <a:pt x="435" y="342"/>
                  </a:lnTo>
                  <a:lnTo>
                    <a:pt x="450" y="322"/>
                  </a:lnTo>
                  <a:lnTo>
                    <a:pt x="436" y="311"/>
                  </a:lnTo>
                  <a:lnTo>
                    <a:pt x="420" y="331"/>
                  </a:lnTo>
                  <a:lnTo>
                    <a:pt x="406" y="321"/>
                  </a:lnTo>
                  <a:lnTo>
                    <a:pt x="422" y="300"/>
                  </a:lnTo>
                  <a:lnTo>
                    <a:pt x="407" y="289"/>
                  </a:lnTo>
                  <a:lnTo>
                    <a:pt x="392" y="309"/>
                  </a:lnTo>
                  <a:lnTo>
                    <a:pt x="376" y="298"/>
                  </a:lnTo>
                  <a:lnTo>
                    <a:pt x="392" y="277"/>
                  </a:lnTo>
                  <a:lnTo>
                    <a:pt x="378" y="266"/>
                  </a:lnTo>
                  <a:lnTo>
                    <a:pt x="362" y="287"/>
                  </a:lnTo>
                  <a:lnTo>
                    <a:pt x="349" y="277"/>
                  </a:lnTo>
                  <a:lnTo>
                    <a:pt x="365" y="256"/>
                  </a:lnTo>
                  <a:lnTo>
                    <a:pt x="350" y="245"/>
                  </a:lnTo>
                  <a:lnTo>
                    <a:pt x="334" y="266"/>
                  </a:lnTo>
                  <a:lnTo>
                    <a:pt x="321" y="255"/>
                  </a:lnTo>
                  <a:lnTo>
                    <a:pt x="336" y="235"/>
                  </a:lnTo>
                  <a:lnTo>
                    <a:pt x="322" y="224"/>
                  </a:lnTo>
                  <a:lnTo>
                    <a:pt x="306" y="244"/>
                  </a:lnTo>
                  <a:lnTo>
                    <a:pt x="291" y="232"/>
                  </a:lnTo>
                  <a:lnTo>
                    <a:pt x="306" y="212"/>
                  </a:lnTo>
                  <a:lnTo>
                    <a:pt x="292" y="201"/>
                  </a:lnTo>
                  <a:lnTo>
                    <a:pt x="276" y="221"/>
                  </a:lnTo>
                  <a:lnTo>
                    <a:pt x="261" y="210"/>
                  </a:lnTo>
                  <a:lnTo>
                    <a:pt x="277" y="189"/>
                  </a:lnTo>
                  <a:lnTo>
                    <a:pt x="262" y="178"/>
                  </a:lnTo>
                  <a:lnTo>
                    <a:pt x="247" y="199"/>
                  </a:lnTo>
                  <a:lnTo>
                    <a:pt x="233" y="188"/>
                  </a:lnTo>
                  <a:lnTo>
                    <a:pt x="249" y="168"/>
                  </a:lnTo>
                  <a:lnTo>
                    <a:pt x="234" y="157"/>
                  </a:lnTo>
                  <a:lnTo>
                    <a:pt x="218" y="177"/>
                  </a:lnTo>
                  <a:lnTo>
                    <a:pt x="203" y="165"/>
                  </a:lnTo>
                  <a:lnTo>
                    <a:pt x="219" y="145"/>
                  </a:lnTo>
                  <a:lnTo>
                    <a:pt x="204" y="134"/>
                  </a:lnTo>
                  <a:lnTo>
                    <a:pt x="189" y="154"/>
                  </a:lnTo>
                  <a:lnTo>
                    <a:pt x="174" y="143"/>
                  </a:lnTo>
                  <a:lnTo>
                    <a:pt x="189" y="122"/>
                  </a:lnTo>
                  <a:lnTo>
                    <a:pt x="175" y="111"/>
                  </a:lnTo>
                  <a:lnTo>
                    <a:pt x="159" y="132"/>
                  </a:lnTo>
                  <a:lnTo>
                    <a:pt x="145" y="121"/>
                  </a:lnTo>
                  <a:lnTo>
                    <a:pt x="161" y="101"/>
                  </a:lnTo>
                  <a:lnTo>
                    <a:pt x="146" y="90"/>
                  </a:lnTo>
                  <a:lnTo>
                    <a:pt x="131" y="110"/>
                  </a:lnTo>
                  <a:lnTo>
                    <a:pt x="115" y="98"/>
                  </a:lnTo>
                  <a:lnTo>
                    <a:pt x="131" y="78"/>
                  </a:lnTo>
                  <a:lnTo>
                    <a:pt x="117" y="67"/>
                  </a:lnTo>
                  <a:lnTo>
                    <a:pt x="101" y="87"/>
                  </a:lnTo>
                  <a:lnTo>
                    <a:pt x="86" y="76"/>
                  </a:lnTo>
                  <a:lnTo>
                    <a:pt x="102" y="55"/>
                  </a:lnTo>
                  <a:lnTo>
                    <a:pt x="87" y="44"/>
                  </a:lnTo>
                  <a:lnTo>
                    <a:pt x="72" y="65"/>
                  </a:lnTo>
                  <a:lnTo>
                    <a:pt x="58" y="54"/>
                  </a:lnTo>
                  <a:lnTo>
                    <a:pt x="73" y="34"/>
                  </a:lnTo>
                  <a:lnTo>
                    <a:pt x="59" y="23"/>
                  </a:lnTo>
                  <a:lnTo>
                    <a:pt x="43" y="43"/>
                  </a:lnTo>
                  <a:lnTo>
                    <a:pt x="28" y="31"/>
                  </a:lnTo>
                  <a:lnTo>
                    <a:pt x="43" y="11"/>
                  </a:lnTo>
                </a:path>
              </a:pathLst>
            </a:custGeom>
            <a:solidFill>
              <a:srgbClr val="D4D3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" name="Freeform 2167"/>
            <p:cNvSpPr>
              <a:spLocks/>
            </p:cNvSpPr>
            <p:nvPr/>
          </p:nvSpPr>
          <p:spPr bwMode="auto">
            <a:xfrm>
              <a:off x="1179513" y="5637212"/>
              <a:ext cx="428625" cy="457200"/>
            </a:xfrm>
            <a:custGeom>
              <a:avLst/>
              <a:gdLst>
                <a:gd name="T0" fmla="*/ 979 w 996"/>
                <a:gd name="T1" fmla="*/ 742 h 1062"/>
                <a:gd name="T2" fmla="*/ 517 w 996"/>
                <a:gd name="T3" fmla="*/ 1052 h 1062"/>
                <a:gd name="T4" fmla="*/ 474 w 996"/>
                <a:gd name="T5" fmla="*/ 1043 h 1062"/>
                <a:gd name="T6" fmla="*/ 18 w 996"/>
                <a:gd name="T7" fmla="*/ 363 h 1062"/>
                <a:gd name="T8" fmla="*/ 0 w 996"/>
                <a:gd name="T9" fmla="*/ 337 h 1062"/>
                <a:gd name="T10" fmla="*/ 488 w 996"/>
                <a:gd name="T11" fmla="*/ 10 h 1062"/>
                <a:gd name="T12" fmla="*/ 530 w 996"/>
                <a:gd name="T13" fmla="*/ 19 h 1062"/>
                <a:gd name="T14" fmla="*/ 987 w 996"/>
                <a:gd name="T15" fmla="*/ 699 h 1062"/>
                <a:gd name="T16" fmla="*/ 979 w 996"/>
                <a:gd name="T17" fmla="*/ 742 h 1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96" h="1062">
                  <a:moveTo>
                    <a:pt x="979" y="742"/>
                  </a:moveTo>
                  <a:lnTo>
                    <a:pt x="517" y="1052"/>
                  </a:lnTo>
                  <a:cubicBezTo>
                    <a:pt x="503" y="1062"/>
                    <a:pt x="484" y="1058"/>
                    <a:pt x="474" y="1043"/>
                  </a:cubicBezTo>
                  <a:lnTo>
                    <a:pt x="18" y="363"/>
                  </a:lnTo>
                  <a:lnTo>
                    <a:pt x="0" y="337"/>
                  </a:lnTo>
                  <a:lnTo>
                    <a:pt x="488" y="10"/>
                  </a:lnTo>
                  <a:cubicBezTo>
                    <a:pt x="501" y="0"/>
                    <a:pt x="521" y="5"/>
                    <a:pt x="530" y="19"/>
                  </a:cubicBezTo>
                  <a:lnTo>
                    <a:pt x="987" y="699"/>
                  </a:lnTo>
                  <a:cubicBezTo>
                    <a:pt x="996" y="713"/>
                    <a:pt x="993" y="733"/>
                    <a:pt x="979" y="742"/>
                  </a:cubicBezTo>
                  <a:close/>
                </a:path>
              </a:pathLst>
            </a:custGeom>
            <a:solidFill>
              <a:srgbClr val="F09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9" name="Freeform 2168"/>
            <p:cNvSpPr>
              <a:spLocks/>
            </p:cNvSpPr>
            <p:nvPr/>
          </p:nvSpPr>
          <p:spPr bwMode="auto">
            <a:xfrm>
              <a:off x="1212850" y="5792787"/>
              <a:ext cx="12700" cy="12700"/>
            </a:xfrm>
            <a:custGeom>
              <a:avLst/>
              <a:gdLst>
                <a:gd name="T0" fmla="*/ 25 w 29"/>
                <a:gd name="T1" fmla="*/ 7 h 28"/>
                <a:gd name="T2" fmla="*/ 21 w 29"/>
                <a:gd name="T3" fmla="*/ 25 h 28"/>
                <a:gd name="T4" fmla="*/ 4 w 29"/>
                <a:gd name="T5" fmla="*/ 21 h 28"/>
                <a:gd name="T6" fmla="*/ 7 w 29"/>
                <a:gd name="T7" fmla="*/ 4 h 28"/>
                <a:gd name="T8" fmla="*/ 25 w 29"/>
                <a:gd name="T9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8">
                  <a:moveTo>
                    <a:pt x="25" y="7"/>
                  </a:moveTo>
                  <a:cubicBezTo>
                    <a:pt x="29" y="13"/>
                    <a:pt x="27" y="21"/>
                    <a:pt x="21" y="25"/>
                  </a:cubicBezTo>
                  <a:cubicBezTo>
                    <a:pt x="16" y="28"/>
                    <a:pt x="8" y="27"/>
                    <a:pt x="4" y="21"/>
                  </a:cubicBezTo>
                  <a:cubicBezTo>
                    <a:pt x="0" y="15"/>
                    <a:pt x="2" y="8"/>
                    <a:pt x="7" y="4"/>
                  </a:cubicBezTo>
                  <a:cubicBezTo>
                    <a:pt x="13" y="0"/>
                    <a:pt x="21" y="1"/>
                    <a:pt x="25" y="7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0" name="Freeform 2169"/>
            <p:cNvSpPr>
              <a:spLocks/>
            </p:cNvSpPr>
            <p:nvPr/>
          </p:nvSpPr>
          <p:spPr bwMode="auto">
            <a:xfrm>
              <a:off x="1192213" y="5795962"/>
              <a:ext cx="30163" cy="22225"/>
            </a:xfrm>
            <a:custGeom>
              <a:avLst/>
              <a:gdLst>
                <a:gd name="T0" fmla="*/ 19 w 19"/>
                <a:gd name="T1" fmla="*/ 3 h 14"/>
                <a:gd name="T2" fmla="*/ 3 w 19"/>
                <a:gd name="T3" fmla="*/ 14 h 14"/>
                <a:gd name="T4" fmla="*/ 0 w 19"/>
                <a:gd name="T5" fmla="*/ 11 h 14"/>
                <a:gd name="T6" fmla="*/ 16 w 19"/>
                <a:gd name="T7" fmla="*/ 0 h 14"/>
                <a:gd name="T8" fmla="*/ 19 w 19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19" y="3"/>
                  </a:moveTo>
                  <a:lnTo>
                    <a:pt x="3" y="14"/>
                  </a:lnTo>
                  <a:lnTo>
                    <a:pt x="0" y="11"/>
                  </a:lnTo>
                  <a:lnTo>
                    <a:pt x="16" y="0"/>
                  </a:lnTo>
                  <a:lnTo>
                    <a:pt x="19" y="3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" name="Freeform 2170"/>
            <p:cNvSpPr>
              <a:spLocks/>
            </p:cNvSpPr>
            <p:nvPr/>
          </p:nvSpPr>
          <p:spPr bwMode="auto">
            <a:xfrm>
              <a:off x="1192213" y="5811837"/>
              <a:ext cx="6350" cy="7938"/>
            </a:xfrm>
            <a:custGeom>
              <a:avLst/>
              <a:gdLst>
                <a:gd name="T0" fmla="*/ 15 w 17"/>
                <a:gd name="T1" fmla="*/ 5 h 18"/>
                <a:gd name="T2" fmla="*/ 13 w 17"/>
                <a:gd name="T3" fmla="*/ 16 h 18"/>
                <a:gd name="T4" fmla="*/ 2 w 17"/>
                <a:gd name="T5" fmla="*/ 13 h 18"/>
                <a:gd name="T6" fmla="*/ 4 w 17"/>
                <a:gd name="T7" fmla="*/ 3 h 18"/>
                <a:gd name="T8" fmla="*/ 15 w 17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5" y="5"/>
                  </a:moveTo>
                  <a:cubicBezTo>
                    <a:pt x="17" y="9"/>
                    <a:pt x="16" y="13"/>
                    <a:pt x="13" y="16"/>
                  </a:cubicBezTo>
                  <a:cubicBezTo>
                    <a:pt x="9" y="18"/>
                    <a:pt x="5" y="17"/>
                    <a:pt x="2" y="13"/>
                  </a:cubicBezTo>
                  <a:cubicBezTo>
                    <a:pt x="0" y="10"/>
                    <a:pt x="1" y="5"/>
                    <a:pt x="4" y="3"/>
                  </a:cubicBezTo>
                  <a:cubicBezTo>
                    <a:pt x="7" y="0"/>
                    <a:pt x="12" y="1"/>
                    <a:pt x="15" y="5"/>
                  </a:cubicBezTo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" name="Freeform 2171"/>
            <p:cNvSpPr>
              <a:spLocks/>
            </p:cNvSpPr>
            <p:nvPr/>
          </p:nvSpPr>
          <p:spPr bwMode="auto">
            <a:xfrm>
              <a:off x="1222375" y="5808662"/>
              <a:ext cx="12700" cy="12700"/>
            </a:xfrm>
            <a:custGeom>
              <a:avLst/>
              <a:gdLst>
                <a:gd name="T0" fmla="*/ 25 w 29"/>
                <a:gd name="T1" fmla="*/ 8 h 29"/>
                <a:gd name="T2" fmla="*/ 21 w 29"/>
                <a:gd name="T3" fmla="*/ 25 h 29"/>
                <a:gd name="T4" fmla="*/ 4 w 29"/>
                <a:gd name="T5" fmla="*/ 22 h 29"/>
                <a:gd name="T6" fmla="*/ 7 w 29"/>
                <a:gd name="T7" fmla="*/ 4 h 29"/>
                <a:gd name="T8" fmla="*/ 25 w 29"/>
                <a:gd name="T9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5" y="8"/>
                  </a:moveTo>
                  <a:cubicBezTo>
                    <a:pt x="29" y="13"/>
                    <a:pt x="27" y="21"/>
                    <a:pt x="21" y="25"/>
                  </a:cubicBezTo>
                  <a:cubicBezTo>
                    <a:pt x="16" y="29"/>
                    <a:pt x="8" y="27"/>
                    <a:pt x="4" y="22"/>
                  </a:cubicBezTo>
                  <a:cubicBezTo>
                    <a:pt x="0" y="16"/>
                    <a:pt x="1" y="8"/>
                    <a:pt x="7" y="4"/>
                  </a:cubicBezTo>
                  <a:cubicBezTo>
                    <a:pt x="13" y="0"/>
                    <a:pt x="21" y="2"/>
                    <a:pt x="25" y="8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" name="Freeform 2172"/>
            <p:cNvSpPr>
              <a:spLocks/>
            </p:cNvSpPr>
            <p:nvPr/>
          </p:nvSpPr>
          <p:spPr bwMode="auto">
            <a:xfrm>
              <a:off x="1203325" y="5810250"/>
              <a:ext cx="28575" cy="23813"/>
            </a:xfrm>
            <a:custGeom>
              <a:avLst/>
              <a:gdLst>
                <a:gd name="T0" fmla="*/ 18 w 18"/>
                <a:gd name="T1" fmla="*/ 4 h 15"/>
                <a:gd name="T2" fmla="*/ 2 w 18"/>
                <a:gd name="T3" fmla="*/ 15 h 15"/>
                <a:gd name="T4" fmla="*/ 0 w 18"/>
                <a:gd name="T5" fmla="*/ 11 h 15"/>
                <a:gd name="T6" fmla="*/ 16 w 18"/>
                <a:gd name="T7" fmla="*/ 0 h 15"/>
                <a:gd name="T8" fmla="*/ 18 w 18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18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6" y="0"/>
                  </a:lnTo>
                  <a:lnTo>
                    <a:pt x="18" y="4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Freeform 2173"/>
            <p:cNvSpPr>
              <a:spLocks/>
            </p:cNvSpPr>
            <p:nvPr/>
          </p:nvSpPr>
          <p:spPr bwMode="auto">
            <a:xfrm>
              <a:off x="1201738" y="5826125"/>
              <a:ext cx="7938" cy="7938"/>
            </a:xfrm>
            <a:custGeom>
              <a:avLst/>
              <a:gdLst>
                <a:gd name="T0" fmla="*/ 14 w 17"/>
                <a:gd name="T1" fmla="*/ 4 h 17"/>
                <a:gd name="T2" fmla="*/ 13 w 17"/>
                <a:gd name="T3" fmla="*/ 15 h 17"/>
                <a:gd name="T4" fmla="*/ 2 w 17"/>
                <a:gd name="T5" fmla="*/ 13 h 17"/>
                <a:gd name="T6" fmla="*/ 4 w 17"/>
                <a:gd name="T7" fmla="*/ 2 h 17"/>
                <a:gd name="T8" fmla="*/ 14 w 17"/>
                <a:gd name="T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4" y="4"/>
                  </a:moveTo>
                  <a:cubicBezTo>
                    <a:pt x="17" y="8"/>
                    <a:pt x="16" y="13"/>
                    <a:pt x="13" y="15"/>
                  </a:cubicBezTo>
                  <a:cubicBezTo>
                    <a:pt x="9" y="17"/>
                    <a:pt x="5" y="16"/>
                    <a:pt x="2" y="13"/>
                  </a:cubicBezTo>
                  <a:cubicBezTo>
                    <a:pt x="0" y="9"/>
                    <a:pt x="0" y="4"/>
                    <a:pt x="4" y="2"/>
                  </a:cubicBezTo>
                  <a:cubicBezTo>
                    <a:pt x="7" y="0"/>
                    <a:pt x="12" y="1"/>
                    <a:pt x="14" y="4"/>
                  </a:cubicBezTo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" name="Freeform 2174"/>
            <p:cNvSpPr>
              <a:spLocks/>
            </p:cNvSpPr>
            <p:nvPr/>
          </p:nvSpPr>
          <p:spPr bwMode="auto">
            <a:xfrm>
              <a:off x="1233488" y="5824537"/>
              <a:ext cx="12700" cy="12700"/>
            </a:xfrm>
            <a:custGeom>
              <a:avLst/>
              <a:gdLst>
                <a:gd name="T0" fmla="*/ 24 w 28"/>
                <a:gd name="T1" fmla="*/ 7 h 29"/>
                <a:gd name="T2" fmla="*/ 21 w 28"/>
                <a:gd name="T3" fmla="*/ 25 h 29"/>
                <a:gd name="T4" fmla="*/ 3 w 28"/>
                <a:gd name="T5" fmla="*/ 21 h 29"/>
                <a:gd name="T6" fmla="*/ 7 w 28"/>
                <a:gd name="T7" fmla="*/ 4 h 29"/>
                <a:gd name="T8" fmla="*/ 24 w 28"/>
                <a:gd name="T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9">
                  <a:moveTo>
                    <a:pt x="24" y="7"/>
                  </a:moveTo>
                  <a:cubicBezTo>
                    <a:pt x="28" y="13"/>
                    <a:pt x="27" y="21"/>
                    <a:pt x="21" y="25"/>
                  </a:cubicBezTo>
                  <a:cubicBezTo>
                    <a:pt x="15" y="29"/>
                    <a:pt x="7" y="27"/>
                    <a:pt x="3" y="21"/>
                  </a:cubicBezTo>
                  <a:cubicBezTo>
                    <a:pt x="0" y="16"/>
                    <a:pt x="1" y="8"/>
                    <a:pt x="7" y="4"/>
                  </a:cubicBezTo>
                  <a:cubicBezTo>
                    <a:pt x="13" y="0"/>
                    <a:pt x="20" y="1"/>
                    <a:pt x="24" y="7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Freeform 2175"/>
            <p:cNvSpPr>
              <a:spLocks/>
            </p:cNvSpPr>
            <p:nvPr/>
          </p:nvSpPr>
          <p:spPr bwMode="auto">
            <a:xfrm>
              <a:off x="1212850" y="5826125"/>
              <a:ext cx="30163" cy="23813"/>
            </a:xfrm>
            <a:custGeom>
              <a:avLst/>
              <a:gdLst>
                <a:gd name="T0" fmla="*/ 19 w 19"/>
                <a:gd name="T1" fmla="*/ 4 h 15"/>
                <a:gd name="T2" fmla="*/ 3 w 19"/>
                <a:gd name="T3" fmla="*/ 15 h 15"/>
                <a:gd name="T4" fmla="*/ 0 w 19"/>
                <a:gd name="T5" fmla="*/ 11 h 15"/>
                <a:gd name="T6" fmla="*/ 16 w 19"/>
                <a:gd name="T7" fmla="*/ 0 h 15"/>
                <a:gd name="T8" fmla="*/ 19 w 19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4"/>
                  </a:moveTo>
                  <a:lnTo>
                    <a:pt x="3" y="15"/>
                  </a:lnTo>
                  <a:lnTo>
                    <a:pt x="0" y="11"/>
                  </a:lnTo>
                  <a:lnTo>
                    <a:pt x="16" y="0"/>
                  </a:lnTo>
                  <a:lnTo>
                    <a:pt x="19" y="4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Freeform 2176"/>
            <p:cNvSpPr>
              <a:spLocks/>
            </p:cNvSpPr>
            <p:nvPr/>
          </p:nvSpPr>
          <p:spPr bwMode="auto">
            <a:xfrm>
              <a:off x="1212850" y="5842000"/>
              <a:ext cx="6350" cy="7938"/>
            </a:xfrm>
            <a:custGeom>
              <a:avLst/>
              <a:gdLst>
                <a:gd name="T0" fmla="*/ 15 w 17"/>
                <a:gd name="T1" fmla="*/ 5 h 18"/>
                <a:gd name="T2" fmla="*/ 13 w 17"/>
                <a:gd name="T3" fmla="*/ 16 h 18"/>
                <a:gd name="T4" fmla="*/ 3 w 17"/>
                <a:gd name="T5" fmla="*/ 13 h 18"/>
                <a:gd name="T6" fmla="*/ 4 w 17"/>
                <a:gd name="T7" fmla="*/ 3 h 18"/>
                <a:gd name="T8" fmla="*/ 15 w 17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5" y="5"/>
                  </a:moveTo>
                  <a:cubicBezTo>
                    <a:pt x="17" y="9"/>
                    <a:pt x="17" y="13"/>
                    <a:pt x="13" y="16"/>
                  </a:cubicBezTo>
                  <a:cubicBezTo>
                    <a:pt x="10" y="18"/>
                    <a:pt x="5" y="17"/>
                    <a:pt x="3" y="13"/>
                  </a:cubicBezTo>
                  <a:cubicBezTo>
                    <a:pt x="0" y="10"/>
                    <a:pt x="1" y="5"/>
                    <a:pt x="4" y="3"/>
                  </a:cubicBezTo>
                  <a:cubicBezTo>
                    <a:pt x="8" y="0"/>
                    <a:pt x="13" y="2"/>
                    <a:pt x="15" y="5"/>
                  </a:cubicBez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Freeform 2177"/>
            <p:cNvSpPr>
              <a:spLocks/>
            </p:cNvSpPr>
            <p:nvPr/>
          </p:nvSpPr>
          <p:spPr bwMode="auto">
            <a:xfrm>
              <a:off x="1243013" y="5838825"/>
              <a:ext cx="12700" cy="12700"/>
            </a:xfrm>
            <a:custGeom>
              <a:avLst/>
              <a:gdLst>
                <a:gd name="T0" fmla="*/ 25 w 29"/>
                <a:gd name="T1" fmla="*/ 8 h 29"/>
                <a:gd name="T2" fmla="*/ 22 w 29"/>
                <a:gd name="T3" fmla="*/ 25 h 29"/>
                <a:gd name="T4" fmla="*/ 4 w 29"/>
                <a:gd name="T5" fmla="*/ 22 h 29"/>
                <a:gd name="T6" fmla="*/ 8 w 29"/>
                <a:gd name="T7" fmla="*/ 4 h 29"/>
                <a:gd name="T8" fmla="*/ 25 w 29"/>
                <a:gd name="T9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5" y="8"/>
                  </a:moveTo>
                  <a:cubicBezTo>
                    <a:pt x="29" y="14"/>
                    <a:pt x="28" y="21"/>
                    <a:pt x="22" y="25"/>
                  </a:cubicBezTo>
                  <a:cubicBezTo>
                    <a:pt x="16" y="29"/>
                    <a:pt x="8" y="28"/>
                    <a:pt x="4" y="22"/>
                  </a:cubicBezTo>
                  <a:cubicBezTo>
                    <a:pt x="0" y="16"/>
                    <a:pt x="2" y="8"/>
                    <a:pt x="8" y="4"/>
                  </a:cubicBezTo>
                  <a:cubicBezTo>
                    <a:pt x="13" y="0"/>
                    <a:pt x="21" y="2"/>
                    <a:pt x="25" y="8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" name="Freeform 2178"/>
            <p:cNvSpPr>
              <a:spLocks/>
            </p:cNvSpPr>
            <p:nvPr/>
          </p:nvSpPr>
          <p:spPr bwMode="auto">
            <a:xfrm>
              <a:off x="1223963" y="5842000"/>
              <a:ext cx="28575" cy="22225"/>
            </a:xfrm>
            <a:custGeom>
              <a:avLst/>
              <a:gdLst>
                <a:gd name="T0" fmla="*/ 18 w 18"/>
                <a:gd name="T1" fmla="*/ 3 h 14"/>
                <a:gd name="T2" fmla="*/ 2 w 18"/>
                <a:gd name="T3" fmla="*/ 14 h 14"/>
                <a:gd name="T4" fmla="*/ 0 w 18"/>
                <a:gd name="T5" fmla="*/ 11 h 14"/>
                <a:gd name="T6" fmla="*/ 16 w 18"/>
                <a:gd name="T7" fmla="*/ 0 h 14"/>
                <a:gd name="T8" fmla="*/ 18 w 18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4">
                  <a:moveTo>
                    <a:pt x="18" y="3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6" y="0"/>
                  </a:lnTo>
                  <a:lnTo>
                    <a:pt x="18" y="3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Freeform 2179"/>
            <p:cNvSpPr>
              <a:spLocks/>
            </p:cNvSpPr>
            <p:nvPr/>
          </p:nvSpPr>
          <p:spPr bwMode="auto">
            <a:xfrm>
              <a:off x="1222375" y="5857875"/>
              <a:ext cx="7938" cy="6350"/>
            </a:xfrm>
            <a:custGeom>
              <a:avLst/>
              <a:gdLst>
                <a:gd name="T0" fmla="*/ 15 w 17"/>
                <a:gd name="T1" fmla="*/ 5 h 17"/>
                <a:gd name="T2" fmla="*/ 13 w 17"/>
                <a:gd name="T3" fmla="*/ 15 h 17"/>
                <a:gd name="T4" fmla="*/ 3 w 17"/>
                <a:gd name="T5" fmla="*/ 13 h 17"/>
                <a:gd name="T6" fmla="*/ 4 w 17"/>
                <a:gd name="T7" fmla="*/ 2 h 17"/>
                <a:gd name="T8" fmla="*/ 15 w 17"/>
                <a:gd name="T9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5" y="5"/>
                  </a:moveTo>
                  <a:cubicBezTo>
                    <a:pt x="17" y="8"/>
                    <a:pt x="16" y="13"/>
                    <a:pt x="13" y="15"/>
                  </a:cubicBezTo>
                  <a:cubicBezTo>
                    <a:pt x="10" y="17"/>
                    <a:pt x="5" y="16"/>
                    <a:pt x="3" y="13"/>
                  </a:cubicBezTo>
                  <a:cubicBezTo>
                    <a:pt x="0" y="9"/>
                    <a:pt x="1" y="5"/>
                    <a:pt x="4" y="2"/>
                  </a:cubicBezTo>
                  <a:cubicBezTo>
                    <a:pt x="8" y="0"/>
                    <a:pt x="12" y="1"/>
                    <a:pt x="15" y="5"/>
                  </a:cubicBezTo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" name="Freeform 2180"/>
            <p:cNvSpPr>
              <a:spLocks/>
            </p:cNvSpPr>
            <p:nvPr/>
          </p:nvSpPr>
          <p:spPr bwMode="auto">
            <a:xfrm>
              <a:off x="1254125" y="5856287"/>
              <a:ext cx="12700" cy="12700"/>
            </a:xfrm>
            <a:custGeom>
              <a:avLst/>
              <a:gdLst>
                <a:gd name="T0" fmla="*/ 25 w 29"/>
                <a:gd name="T1" fmla="*/ 7 h 29"/>
                <a:gd name="T2" fmla="*/ 21 w 29"/>
                <a:gd name="T3" fmla="*/ 25 h 29"/>
                <a:gd name="T4" fmla="*/ 4 w 29"/>
                <a:gd name="T5" fmla="*/ 21 h 29"/>
                <a:gd name="T6" fmla="*/ 7 w 29"/>
                <a:gd name="T7" fmla="*/ 4 h 29"/>
                <a:gd name="T8" fmla="*/ 25 w 29"/>
                <a:gd name="T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5" y="7"/>
                  </a:moveTo>
                  <a:cubicBezTo>
                    <a:pt x="29" y="13"/>
                    <a:pt x="27" y="21"/>
                    <a:pt x="21" y="25"/>
                  </a:cubicBezTo>
                  <a:cubicBezTo>
                    <a:pt x="16" y="29"/>
                    <a:pt x="8" y="27"/>
                    <a:pt x="4" y="21"/>
                  </a:cubicBezTo>
                  <a:cubicBezTo>
                    <a:pt x="0" y="16"/>
                    <a:pt x="2" y="8"/>
                    <a:pt x="7" y="4"/>
                  </a:cubicBezTo>
                  <a:cubicBezTo>
                    <a:pt x="13" y="0"/>
                    <a:pt x="21" y="2"/>
                    <a:pt x="25" y="7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" name="Freeform 2181"/>
            <p:cNvSpPr>
              <a:spLocks/>
            </p:cNvSpPr>
            <p:nvPr/>
          </p:nvSpPr>
          <p:spPr bwMode="auto">
            <a:xfrm>
              <a:off x="1233488" y="5859462"/>
              <a:ext cx="30163" cy="22225"/>
            </a:xfrm>
            <a:custGeom>
              <a:avLst/>
              <a:gdLst>
                <a:gd name="T0" fmla="*/ 19 w 19"/>
                <a:gd name="T1" fmla="*/ 3 h 14"/>
                <a:gd name="T2" fmla="*/ 3 w 19"/>
                <a:gd name="T3" fmla="*/ 14 h 14"/>
                <a:gd name="T4" fmla="*/ 0 w 19"/>
                <a:gd name="T5" fmla="*/ 11 h 14"/>
                <a:gd name="T6" fmla="*/ 17 w 19"/>
                <a:gd name="T7" fmla="*/ 0 h 14"/>
                <a:gd name="T8" fmla="*/ 19 w 19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19" y="3"/>
                  </a:moveTo>
                  <a:lnTo>
                    <a:pt x="3" y="14"/>
                  </a:lnTo>
                  <a:lnTo>
                    <a:pt x="0" y="11"/>
                  </a:lnTo>
                  <a:lnTo>
                    <a:pt x="17" y="0"/>
                  </a:lnTo>
                  <a:lnTo>
                    <a:pt x="19" y="3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Freeform 2182"/>
            <p:cNvSpPr>
              <a:spLocks/>
            </p:cNvSpPr>
            <p:nvPr/>
          </p:nvSpPr>
          <p:spPr bwMode="auto">
            <a:xfrm>
              <a:off x="1233488" y="5875337"/>
              <a:ext cx="6350" cy="7938"/>
            </a:xfrm>
            <a:custGeom>
              <a:avLst/>
              <a:gdLst>
                <a:gd name="T0" fmla="*/ 14 w 17"/>
                <a:gd name="T1" fmla="*/ 5 h 18"/>
                <a:gd name="T2" fmla="*/ 13 w 17"/>
                <a:gd name="T3" fmla="*/ 16 h 18"/>
                <a:gd name="T4" fmla="*/ 2 w 17"/>
                <a:gd name="T5" fmla="*/ 13 h 18"/>
                <a:gd name="T6" fmla="*/ 4 w 17"/>
                <a:gd name="T7" fmla="*/ 3 h 18"/>
                <a:gd name="T8" fmla="*/ 14 w 17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4" y="5"/>
                  </a:moveTo>
                  <a:cubicBezTo>
                    <a:pt x="17" y="9"/>
                    <a:pt x="16" y="13"/>
                    <a:pt x="13" y="16"/>
                  </a:cubicBezTo>
                  <a:cubicBezTo>
                    <a:pt x="9" y="18"/>
                    <a:pt x="5" y="17"/>
                    <a:pt x="2" y="13"/>
                  </a:cubicBezTo>
                  <a:cubicBezTo>
                    <a:pt x="0" y="10"/>
                    <a:pt x="1" y="5"/>
                    <a:pt x="4" y="3"/>
                  </a:cubicBezTo>
                  <a:cubicBezTo>
                    <a:pt x="7" y="0"/>
                    <a:pt x="12" y="2"/>
                    <a:pt x="14" y="5"/>
                  </a:cubicBezTo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" name="Freeform 2183"/>
            <p:cNvSpPr>
              <a:spLocks/>
            </p:cNvSpPr>
            <p:nvPr/>
          </p:nvSpPr>
          <p:spPr bwMode="auto">
            <a:xfrm>
              <a:off x="1265238" y="5872162"/>
              <a:ext cx="12700" cy="12700"/>
            </a:xfrm>
            <a:custGeom>
              <a:avLst/>
              <a:gdLst>
                <a:gd name="T0" fmla="*/ 25 w 29"/>
                <a:gd name="T1" fmla="*/ 8 h 29"/>
                <a:gd name="T2" fmla="*/ 21 w 29"/>
                <a:gd name="T3" fmla="*/ 25 h 29"/>
                <a:gd name="T4" fmla="*/ 4 w 29"/>
                <a:gd name="T5" fmla="*/ 22 h 29"/>
                <a:gd name="T6" fmla="*/ 7 w 29"/>
                <a:gd name="T7" fmla="*/ 4 h 29"/>
                <a:gd name="T8" fmla="*/ 25 w 29"/>
                <a:gd name="T9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5" y="8"/>
                  </a:moveTo>
                  <a:cubicBezTo>
                    <a:pt x="29" y="14"/>
                    <a:pt x="27" y="21"/>
                    <a:pt x="21" y="25"/>
                  </a:cubicBezTo>
                  <a:cubicBezTo>
                    <a:pt x="15" y="29"/>
                    <a:pt x="8" y="28"/>
                    <a:pt x="4" y="22"/>
                  </a:cubicBezTo>
                  <a:cubicBezTo>
                    <a:pt x="0" y="16"/>
                    <a:pt x="1" y="8"/>
                    <a:pt x="7" y="4"/>
                  </a:cubicBezTo>
                  <a:cubicBezTo>
                    <a:pt x="13" y="0"/>
                    <a:pt x="21" y="2"/>
                    <a:pt x="25" y="8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Freeform 2184"/>
            <p:cNvSpPr>
              <a:spLocks/>
            </p:cNvSpPr>
            <p:nvPr/>
          </p:nvSpPr>
          <p:spPr bwMode="auto">
            <a:xfrm>
              <a:off x="1244600" y="5873750"/>
              <a:ext cx="30163" cy="23813"/>
            </a:xfrm>
            <a:custGeom>
              <a:avLst/>
              <a:gdLst>
                <a:gd name="T0" fmla="*/ 19 w 19"/>
                <a:gd name="T1" fmla="*/ 4 h 15"/>
                <a:gd name="T2" fmla="*/ 2 w 19"/>
                <a:gd name="T3" fmla="*/ 15 h 15"/>
                <a:gd name="T4" fmla="*/ 0 w 19"/>
                <a:gd name="T5" fmla="*/ 12 h 15"/>
                <a:gd name="T6" fmla="*/ 16 w 19"/>
                <a:gd name="T7" fmla="*/ 0 h 15"/>
                <a:gd name="T8" fmla="*/ 19 w 19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4"/>
                  </a:moveTo>
                  <a:lnTo>
                    <a:pt x="2" y="15"/>
                  </a:lnTo>
                  <a:lnTo>
                    <a:pt x="0" y="12"/>
                  </a:lnTo>
                  <a:lnTo>
                    <a:pt x="16" y="0"/>
                  </a:lnTo>
                  <a:lnTo>
                    <a:pt x="19" y="4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Freeform 2185"/>
            <p:cNvSpPr>
              <a:spLocks/>
            </p:cNvSpPr>
            <p:nvPr/>
          </p:nvSpPr>
          <p:spPr bwMode="auto">
            <a:xfrm>
              <a:off x="1243013" y="5889625"/>
              <a:ext cx="7938" cy="7938"/>
            </a:xfrm>
            <a:custGeom>
              <a:avLst/>
              <a:gdLst>
                <a:gd name="T0" fmla="*/ 14 w 17"/>
                <a:gd name="T1" fmla="*/ 5 h 17"/>
                <a:gd name="T2" fmla="*/ 13 w 17"/>
                <a:gd name="T3" fmla="*/ 15 h 17"/>
                <a:gd name="T4" fmla="*/ 2 w 17"/>
                <a:gd name="T5" fmla="*/ 13 h 17"/>
                <a:gd name="T6" fmla="*/ 4 w 17"/>
                <a:gd name="T7" fmla="*/ 2 h 17"/>
                <a:gd name="T8" fmla="*/ 14 w 17"/>
                <a:gd name="T9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4" y="5"/>
                  </a:moveTo>
                  <a:cubicBezTo>
                    <a:pt x="17" y="8"/>
                    <a:pt x="16" y="13"/>
                    <a:pt x="13" y="15"/>
                  </a:cubicBezTo>
                  <a:cubicBezTo>
                    <a:pt x="9" y="17"/>
                    <a:pt x="4" y="16"/>
                    <a:pt x="2" y="13"/>
                  </a:cubicBezTo>
                  <a:cubicBezTo>
                    <a:pt x="0" y="9"/>
                    <a:pt x="0" y="5"/>
                    <a:pt x="4" y="2"/>
                  </a:cubicBezTo>
                  <a:cubicBezTo>
                    <a:pt x="7" y="0"/>
                    <a:pt x="12" y="1"/>
                    <a:pt x="14" y="5"/>
                  </a:cubicBez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" name="Freeform 2186"/>
            <p:cNvSpPr>
              <a:spLocks/>
            </p:cNvSpPr>
            <p:nvPr/>
          </p:nvSpPr>
          <p:spPr bwMode="auto">
            <a:xfrm>
              <a:off x="1274763" y="5888037"/>
              <a:ext cx="12700" cy="12700"/>
            </a:xfrm>
            <a:custGeom>
              <a:avLst/>
              <a:gdLst>
                <a:gd name="T0" fmla="*/ 24 w 28"/>
                <a:gd name="T1" fmla="*/ 7 h 29"/>
                <a:gd name="T2" fmla="*/ 21 w 28"/>
                <a:gd name="T3" fmla="*/ 25 h 29"/>
                <a:gd name="T4" fmla="*/ 3 w 28"/>
                <a:gd name="T5" fmla="*/ 22 h 29"/>
                <a:gd name="T6" fmla="*/ 7 w 28"/>
                <a:gd name="T7" fmla="*/ 4 h 29"/>
                <a:gd name="T8" fmla="*/ 24 w 28"/>
                <a:gd name="T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9">
                  <a:moveTo>
                    <a:pt x="24" y="7"/>
                  </a:moveTo>
                  <a:cubicBezTo>
                    <a:pt x="28" y="13"/>
                    <a:pt x="27" y="21"/>
                    <a:pt x="21" y="25"/>
                  </a:cubicBezTo>
                  <a:cubicBezTo>
                    <a:pt x="15" y="29"/>
                    <a:pt x="7" y="27"/>
                    <a:pt x="3" y="22"/>
                  </a:cubicBezTo>
                  <a:cubicBezTo>
                    <a:pt x="0" y="16"/>
                    <a:pt x="1" y="8"/>
                    <a:pt x="7" y="4"/>
                  </a:cubicBezTo>
                  <a:cubicBezTo>
                    <a:pt x="13" y="0"/>
                    <a:pt x="20" y="2"/>
                    <a:pt x="24" y="7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Freeform 2187"/>
            <p:cNvSpPr>
              <a:spLocks/>
            </p:cNvSpPr>
            <p:nvPr/>
          </p:nvSpPr>
          <p:spPr bwMode="auto">
            <a:xfrm>
              <a:off x="1254125" y="5889625"/>
              <a:ext cx="30163" cy="23813"/>
            </a:xfrm>
            <a:custGeom>
              <a:avLst/>
              <a:gdLst>
                <a:gd name="T0" fmla="*/ 19 w 19"/>
                <a:gd name="T1" fmla="*/ 4 h 15"/>
                <a:gd name="T2" fmla="*/ 3 w 19"/>
                <a:gd name="T3" fmla="*/ 15 h 15"/>
                <a:gd name="T4" fmla="*/ 0 w 19"/>
                <a:gd name="T5" fmla="*/ 11 h 15"/>
                <a:gd name="T6" fmla="*/ 17 w 19"/>
                <a:gd name="T7" fmla="*/ 0 h 15"/>
                <a:gd name="T8" fmla="*/ 19 w 19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4"/>
                  </a:moveTo>
                  <a:lnTo>
                    <a:pt x="3" y="15"/>
                  </a:lnTo>
                  <a:lnTo>
                    <a:pt x="0" y="11"/>
                  </a:lnTo>
                  <a:lnTo>
                    <a:pt x="17" y="0"/>
                  </a:lnTo>
                  <a:lnTo>
                    <a:pt x="19" y="4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Freeform 2188"/>
            <p:cNvSpPr>
              <a:spLocks/>
            </p:cNvSpPr>
            <p:nvPr/>
          </p:nvSpPr>
          <p:spPr bwMode="auto">
            <a:xfrm>
              <a:off x="1254125" y="5905500"/>
              <a:ext cx="6350" cy="7938"/>
            </a:xfrm>
            <a:custGeom>
              <a:avLst/>
              <a:gdLst>
                <a:gd name="T0" fmla="*/ 15 w 17"/>
                <a:gd name="T1" fmla="*/ 4 h 17"/>
                <a:gd name="T2" fmla="*/ 13 w 17"/>
                <a:gd name="T3" fmla="*/ 15 h 17"/>
                <a:gd name="T4" fmla="*/ 3 w 17"/>
                <a:gd name="T5" fmla="*/ 13 h 17"/>
                <a:gd name="T6" fmla="*/ 4 w 17"/>
                <a:gd name="T7" fmla="*/ 2 h 17"/>
                <a:gd name="T8" fmla="*/ 15 w 17"/>
                <a:gd name="T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5" y="4"/>
                  </a:moveTo>
                  <a:cubicBezTo>
                    <a:pt x="17" y="8"/>
                    <a:pt x="17" y="13"/>
                    <a:pt x="13" y="15"/>
                  </a:cubicBezTo>
                  <a:cubicBezTo>
                    <a:pt x="10" y="17"/>
                    <a:pt x="5" y="16"/>
                    <a:pt x="3" y="13"/>
                  </a:cubicBezTo>
                  <a:cubicBezTo>
                    <a:pt x="0" y="9"/>
                    <a:pt x="1" y="4"/>
                    <a:pt x="4" y="2"/>
                  </a:cubicBezTo>
                  <a:cubicBezTo>
                    <a:pt x="8" y="0"/>
                    <a:pt x="13" y="1"/>
                    <a:pt x="15" y="4"/>
                  </a:cubicBezTo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" name="Freeform 2189"/>
            <p:cNvSpPr>
              <a:spLocks/>
            </p:cNvSpPr>
            <p:nvPr/>
          </p:nvSpPr>
          <p:spPr bwMode="auto">
            <a:xfrm>
              <a:off x="1285875" y="5903912"/>
              <a:ext cx="12700" cy="11113"/>
            </a:xfrm>
            <a:custGeom>
              <a:avLst/>
              <a:gdLst>
                <a:gd name="T0" fmla="*/ 25 w 29"/>
                <a:gd name="T1" fmla="*/ 7 h 28"/>
                <a:gd name="T2" fmla="*/ 22 w 29"/>
                <a:gd name="T3" fmla="*/ 24 h 28"/>
                <a:gd name="T4" fmla="*/ 4 w 29"/>
                <a:gd name="T5" fmla="*/ 21 h 28"/>
                <a:gd name="T6" fmla="*/ 8 w 29"/>
                <a:gd name="T7" fmla="*/ 4 h 28"/>
                <a:gd name="T8" fmla="*/ 25 w 29"/>
                <a:gd name="T9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8">
                  <a:moveTo>
                    <a:pt x="25" y="7"/>
                  </a:moveTo>
                  <a:cubicBezTo>
                    <a:pt x="29" y="13"/>
                    <a:pt x="27" y="21"/>
                    <a:pt x="22" y="24"/>
                  </a:cubicBezTo>
                  <a:cubicBezTo>
                    <a:pt x="16" y="28"/>
                    <a:pt x="8" y="27"/>
                    <a:pt x="4" y="21"/>
                  </a:cubicBezTo>
                  <a:cubicBezTo>
                    <a:pt x="0" y="15"/>
                    <a:pt x="2" y="7"/>
                    <a:pt x="8" y="4"/>
                  </a:cubicBezTo>
                  <a:cubicBezTo>
                    <a:pt x="13" y="0"/>
                    <a:pt x="21" y="1"/>
                    <a:pt x="25" y="7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" name="Freeform 2190"/>
            <p:cNvSpPr>
              <a:spLocks/>
            </p:cNvSpPr>
            <p:nvPr/>
          </p:nvSpPr>
          <p:spPr bwMode="auto">
            <a:xfrm>
              <a:off x="1265238" y="5905500"/>
              <a:ext cx="30163" cy="23813"/>
            </a:xfrm>
            <a:custGeom>
              <a:avLst/>
              <a:gdLst>
                <a:gd name="T0" fmla="*/ 19 w 19"/>
                <a:gd name="T1" fmla="*/ 3 h 15"/>
                <a:gd name="T2" fmla="*/ 2 w 19"/>
                <a:gd name="T3" fmla="*/ 15 h 15"/>
                <a:gd name="T4" fmla="*/ 0 w 19"/>
                <a:gd name="T5" fmla="*/ 11 h 15"/>
                <a:gd name="T6" fmla="*/ 16 w 19"/>
                <a:gd name="T7" fmla="*/ 0 h 15"/>
                <a:gd name="T8" fmla="*/ 19 w 19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3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6" y="0"/>
                  </a:lnTo>
                  <a:lnTo>
                    <a:pt x="19" y="3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" name="Freeform 2191"/>
            <p:cNvSpPr>
              <a:spLocks/>
            </p:cNvSpPr>
            <p:nvPr/>
          </p:nvSpPr>
          <p:spPr bwMode="auto">
            <a:xfrm>
              <a:off x="1263650" y="5921375"/>
              <a:ext cx="7938" cy="7938"/>
            </a:xfrm>
            <a:custGeom>
              <a:avLst/>
              <a:gdLst>
                <a:gd name="T0" fmla="*/ 15 w 17"/>
                <a:gd name="T1" fmla="*/ 5 h 18"/>
                <a:gd name="T2" fmla="*/ 13 w 17"/>
                <a:gd name="T3" fmla="*/ 15 h 18"/>
                <a:gd name="T4" fmla="*/ 3 w 17"/>
                <a:gd name="T5" fmla="*/ 13 h 18"/>
                <a:gd name="T6" fmla="*/ 4 w 17"/>
                <a:gd name="T7" fmla="*/ 2 h 18"/>
                <a:gd name="T8" fmla="*/ 15 w 17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5" y="5"/>
                  </a:moveTo>
                  <a:cubicBezTo>
                    <a:pt x="17" y="8"/>
                    <a:pt x="16" y="13"/>
                    <a:pt x="13" y="15"/>
                  </a:cubicBezTo>
                  <a:cubicBezTo>
                    <a:pt x="10" y="18"/>
                    <a:pt x="5" y="17"/>
                    <a:pt x="3" y="13"/>
                  </a:cubicBezTo>
                  <a:cubicBezTo>
                    <a:pt x="0" y="9"/>
                    <a:pt x="1" y="5"/>
                    <a:pt x="4" y="2"/>
                  </a:cubicBezTo>
                  <a:cubicBezTo>
                    <a:pt x="8" y="0"/>
                    <a:pt x="12" y="1"/>
                    <a:pt x="15" y="5"/>
                  </a:cubicBez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Freeform 2192"/>
            <p:cNvSpPr>
              <a:spLocks/>
            </p:cNvSpPr>
            <p:nvPr/>
          </p:nvSpPr>
          <p:spPr bwMode="auto">
            <a:xfrm>
              <a:off x="1311275" y="5940425"/>
              <a:ext cx="12700" cy="11113"/>
            </a:xfrm>
            <a:custGeom>
              <a:avLst/>
              <a:gdLst>
                <a:gd name="T0" fmla="*/ 25 w 29"/>
                <a:gd name="T1" fmla="*/ 7 h 28"/>
                <a:gd name="T2" fmla="*/ 21 w 29"/>
                <a:gd name="T3" fmla="*/ 25 h 28"/>
                <a:gd name="T4" fmla="*/ 4 w 29"/>
                <a:gd name="T5" fmla="*/ 21 h 28"/>
                <a:gd name="T6" fmla="*/ 7 w 29"/>
                <a:gd name="T7" fmla="*/ 4 h 28"/>
                <a:gd name="T8" fmla="*/ 25 w 29"/>
                <a:gd name="T9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8">
                  <a:moveTo>
                    <a:pt x="25" y="7"/>
                  </a:moveTo>
                  <a:cubicBezTo>
                    <a:pt x="29" y="13"/>
                    <a:pt x="27" y="21"/>
                    <a:pt x="21" y="25"/>
                  </a:cubicBezTo>
                  <a:cubicBezTo>
                    <a:pt x="15" y="28"/>
                    <a:pt x="8" y="27"/>
                    <a:pt x="4" y="21"/>
                  </a:cubicBezTo>
                  <a:cubicBezTo>
                    <a:pt x="0" y="15"/>
                    <a:pt x="1" y="7"/>
                    <a:pt x="7" y="4"/>
                  </a:cubicBezTo>
                  <a:cubicBezTo>
                    <a:pt x="13" y="0"/>
                    <a:pt x="21" y="1"/>
                    <a:pt x="25" y="7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" name="Freeform 2193"/>
            <p:cNvSpPr>
              <a:spLocks/>
            </p:cNvSpPr>
            <p:nvPr/>
          </p:nvSpPr>
          <p:spPr bwMode="auto">
            <a:xfrm>
              <a:off x="1290638" y="5942012"/>
              <a:ext cx="30163" cy="23813"/>
            </a:xfrm>
            <a:custGeom>
              <a:avLst/>
              <a:gdLst>
                <a:gd name="T0" fmla="*/ 19 w 19"/>
                <a:gd name="T1" fmla="*/ 4 h 15"/>
                <a:gd name="T2" fmla="*/ 3 w 19"/>
                <a:gd name="T3" fmla="*/ 15 h 15"/>
                <a:gd name="T4" fmla="*/ 0 w 19"/>
                <a:gd name="T5" fmla="*/ 11 h 15"/>
                <a:gd name="T6" fmla="*/ 16 w 19"/>
                <a:gd name="T7" fmla="*/ 0 h 15"/>
                <a:gd name="T8" fmla="*/ 19 w 19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4"/>
                  </a:moveTo>
                  <a:lnTo>
                    <a:pt x="3" y="15"/>
                  </a:lnTo>
                  <a:lnTo>
                    <a:pt x="0" y="11"/>
                  </a:lnTo>
                  <a:lnTo>
                    <a:pt x="16" y="0"/>
                  </a:lnTo>
                  <a:lnTo>
                    <a:pt x="19" y="4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Freeform 2194"/>
            <p:cNvSpPr>
              <a:spLocks/>
            </p:cNvSpPr>
            <p:nvPr/>
          </p:nvSpPr>
          <p:spPr bwMode="auto">
            <a:xfrm>
              <a:off x="1290638" y="5957887"/>
              <a:ext cx="6350" cy="7938"/>
            </a:xfrm>
            <a:custGeom>
              <a:avLst/>
              <a:gdLst>
                <a:gd name="T0" fmla="*/ 14 w 17"/>
                <a:gd name="T1" fmla="*/ 5 h 18"/>
                <a:gd name="T2" fmla="*/ 13 w 17"/>
                <a:gd name="T3" fmla="*/ 15 h 18"/>
                <a:gd name="T4" fmla="*/ 2 w 17"/>
                <a:gd name="T5" fmla="*/ 13 h 18"/>
                <a:gd name="T6" fmla="*/ 4 w 17"/>
                <a:gd name="T7" fmla="*/ 3 h 18"/>
                <a:gd name="T8" fmla="*/ 14 w 17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4" y="5"/>
                  </a:moveTo>
                  <a:cubicBezTo>
                    <a:pt x="17" y="8"/>
                    <a:pt x="16" y="13"/>
                    <a:pt x="13" y="15"/>
                  </a:cubicBezTo>
                  <a:cubicBezTo>
                    <a:pt x="9" y="18"/>
                    <a:pt x="5" y="17"/>
                    <a:pt x="2" y="13"/>
                  </a:cubicBezTo>
                  <a:cubicBezTo>
                    <a:pt x="0" y="10"/>
                    <a:pt x="0" y="5"/>
                    <a:pt x="4" y="3"/>
                  </a:cubicBezTo>
                  <a:cubicBezTo>
                    <a:pt x="7" y="0"/>
                    <a:pt x="12" y="1"/>
                    <a:pt x="14" y="5"/>
                  </a:cubicBez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" name="Freeform 2195"/>
            <p:cNvSpPr>
              <a:spLocks/>
            </p:cNvSpPr>
            <p:nvPr/>
          </p:nvSpPr>
          <p:spPr bwMode="auto">
            <a:xfrm>
              <a:off x="1320800" y="5954712"/>
              <a:ext cx="12700" cy="12700"/>
            </a:xfrm>
            <a:custGeom>
              <a:avLst/>
              <a:gdLst>
                <a:gd name="T0" fmla="*/ 25 w 28"/>
                <a:gd name="T1" fmla="*/ 8 h 29"/>
                <a:gd name="T2" fmla="*/ 21 w 28"/>
                <a:gd name="T3" fmla="*/ 25 h 29"/>
                <a:gd name="T4" fmla="*/ 4 w 28"/>
                <a:gd name="T5" fmla="*/ 22 h 29"/>
                <a:gd name="T6" fmla="*/ 7 w 28"/>
                <a:gd name="T7" fmla="*/ 4 h 29"/>
                <a:gd name="T8" fmla="*/ 25 w 28"/>
                <a:gd name="T9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9">
                  <a:moveTo>
                    <a:pt x="25" y="8"/>
                  </a:moveTo>
                  <a:cubicBezTo>
                    <a:pt x="28" y="13"/>
                    <a:pt x="27" y="21"/>
                    <a:pt x="21" y="25"/>
                  </a:cubicBezTo>
                  <a:cubicBezTo>
                    <a:pt x="15" y="29"/>
                    <a:pt x="7" y="27"/>
                    <a:pt x="4" y="22"/>
                  </a:cubicBezTo>
                  <a:cubicBezTo>
                    <a:pt x="0" y="16"/>
                    <a:pt x="1" y="8"/>
                    <a:pt x="7" y="4"/>
                  </a:cubicBezTo>
                  <a:cubicBezTo>
                    <a:pt x="13" y="0"/>
                    <a:pt x="21" y="2"/>
                    <a:pt x="25" y="8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7" name="Freeform 2196"/>
            <p:cNvSpPr>
              <a:spLocks/>
            </p:cNvSpPr>
            <p:nvPr/>
          </p:nvSpPr>
          <p:spPr bwMode="auto">
            <a:xfrm>
              <a:off x="1301750" y="5957887"/>
              <a:ext cx="28575" cy="22225"/>
            </a:xfrm>
            <a:custGeom>
              <a:avLst/>
              <a:gdLst>
                <a:gd name="T0" fmla="*/ 18 w 18"/>
                <a:gd name="T1" fmla="*/ 3 h 14"/>
                <a:gd name="T2" fmla="*/ 2 w 18"/>
                <a:gd name="T3" fmla="*/ 14 h 14"/>
                <a:gd name="T4" fmla="*/ 0 w 18"/>
                <a:gd name="T5" fmla="*/ 11 h 14"/>
                <a:gd name="T6" fmla="*/ 16 w 18"/>
                <a:gd name="T7" fmla="*/ 0 h 14"/>
                <a:gd name="T8" fmla="*/ 18 w 18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4">
                  <a:moveTo>
                    <a:pt x="18" y="3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6" y="0"/>
                  </a:lnTo>
                  <a:lnTo>
                    <a:pt x="18" y="3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8" name="Freeform 2197"/>
            <p:cNvSpPr>
              <a:spLocks/>
            </p:cNvSpPr>
            <p:nvPr/>
          </p:nvSpPr>
          <p:spPr bwMode="auto">
            <a:xfrm>
              <a:off x="1300163" y="5973762"/>
              <a:ext cx="7938" cy="6350"/>
            </a:xfrm>
            <a:custGeom>
              <a:avLst/>
              <a:gdLst>
                <a:gd name="T0" fmla="*/ 14 w 17"/>
                <a:gd name="T1" fmla="*/ 4 h 17"/>
                <a:gd name="T2" fmla="*/ 12 w 17"/>
                <a:gd name="T3" fmla="*/ 15 h 17"/>
                <a:gd name="T4" fmla="*/ 2 w 17"/>
                <a:gd name="T5" fmla="*/ 13 h 17"/>
                <a:gd name="T6" fmla="*/ 4 w 17"/>
                <a:gd name="T7" fmla="*/ 2 h 17"/>
                <a:gd name="T8" fmla="*/ 14 w 17"/>
                <a:gd name="T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4" y="4"/>
                  </a:moveTo>
                  <a:cubicBezTo>
                    <a:pt x="17" y="8"/>
                    <a:pt x="16" y="13"/>
                    <a:pt x="12" y="15"/>
                  </a:cubicBezTo>
                  <a:cubicBezTo>
                    <a:pt x="9" y="17"/>
                    <a:pt x="4" y="16"/>
                    <a:pt x="2" y="13"/>
                  </a:cubicBezTo>
                  <a:cubicBezTo>
                    <a:pt x="0" y="9"/>
                    <a:pt x="0" y="4"/>
                    <a:pt x="4" y="2"/>
                  </a:cubicBezTo>
                  <a:cubicBezTo>
                    <a:pt x="7" y="0"/>
                    <a:pt x="12" y="1"/>
                    <a:pt x="14" y="4"/>
                  </a:cubicBez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9" name="Freeform 2198"/>
            <p:cNvSpPr>
              <a:spLocks/>
            </p:cNvSpPr>
            <p:nvPr/>
          </p:nvSpPr>
          <p:spPr bwMode="auto">
            <a:xfrm>
              <a:off x="1331913" y="5970587"/>
              <a:ext cx="12700" cy="12700"/>
            </a:xfrm>
            <a:custGeom>
              <a:avLst/>
              <a:gdLst>
                <a:gd name="T0" fmla="*/ 25 w 29"/>
                <a:gd name="T1" fmla="*/ 7 h 29"/>
                <a:gd name="T2" fmla="*/ 22 w 29"/>
                <a:gd name="T3" fmla="*/ 25 h 29"/>
                <a:gd name="T4" fmla="*/ 4 w 29"/>
                <a:gd name="T5" fmla="*/ 21 h 29"/>
                <a:gd name="T6" fmla="*/ 8 w 29"/>
                <a:gd name="T7" fmla="*/ 4 h 29"/>
                <a:gd name="T8" fmla="*/ 25 w 29"/>
                <a:gd name="T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5" y="7"/>
                  </a:moveTo>
                  <a:cubicBezTo>
                    <a:pt x="29" y="13"/>
                    <a:pt x="27" y="21"/>
                    <a:pt x="22" y="25"/>
                  </a:cubicBezTo>
                  <a:cubicBezTo>
                    <a:pt x="16" y="29"/>
                    <a:pt x="8" y="27"/>
                    <a:pt x="4" y="21"/>
                  </a:cubicBezTo>
                  <a:cubicBezTo>
                    <a:pt x="0" y="15"/>
                    <a:pt x="2" y="8"/>
                    <a:pt x="8" y="4"/>
                  </a:cubicBezTo>
                  <a:cubicBezTo>
                    <a:pt x="13" y="0"/>
                    <a:pt x="21" y="1"/>
                    <a:pt x="25" y="7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0" name="Freeform 2199"/>
            <p:cNvSpPr>
              <a:spLocks/>
            </p:cNvSpPr>
            <p:nvPr/>
          </p:nvSpPr>
          <p:spPr bwMode="auto">
            <a:xfrm>
              <a:off x="1311275" y="5973762"/>
              <a:ext cx="30163" cy="22225"/>
            </a:xfrm>
            <a:custGeom>
              <a:avLst/>
              <a:gdLst>
                <a:gd name="T0" fmla="*/ 19 w 19"/>
                <a:gd name="T1" fmla="*/ 3 h 14"/>
                <a:gd name="T2" fmla="*/ 3 w 19"/>
                <a:gd name="T3" fmla="*/ 14 h 14"/>
                <a:gd name="T4" fmla="*/ 0 w 19"/>
                <a:gd name="T5" fmla="*/ 11 h 14"/>
                <a:gd name="T6" fmla="*/ 16 w 19"/>
                <a:gd name="T7" fmla="*/ 0 h 14"/>
                <a:gd name="T8" fmla="*/ 19 w 19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19" y="3"/>
                  </a:moveTo>
                  <a:lnTo>
                    <a:pt x="3" y="14"/>
                  </a:lnTo>
                  <a:lnTo>
                    <a:pt x="0" y="11"/>
                  </a:lnTo>
                  <a:lnTo>
                    <a:pt x="16" y="0"/>
                  </a:lnTo>
                  <a:lnTo>
                    <a:pt x="19" y="3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1" name="Freeform 2200"/>
            <p:cNvSpPr>
              <a:spLocks/>
            </p:cNvSpPr>
            <p:nvPr/>
          </p:nvSpPr>
          <p:spPr bwMode="auto">
            <a:xfrm>
              <a:off x="1311275" y="5989637"/>
              <a:ext cx="6350" cy="6350"/>
            </a:xfrm>
            <a:custGeom>
              <a:avLst/>
              <a:gdLst>
                <a:gd name="T0" fmla="*/ 15 w 17"/>
                <a:gd name="T1" fmla="*/ 5 h 18"/>
                <a:gd name="T2" fmla="*/ 13 w 17"/>
                <a:gd name="T3" fmla="*/ 16 h 18"/>
                <a:gd name="T4" fmla="*/ 3 w 17"/>
                <a:gd name="T5" fmla="*/ 13 h 18"/>
                <a:gd name="T6" fmla="*/ 4 w 17"/>
                <a:gd name="T7" fmla="*/ 3 h 18"/>
                <a:gd name="T8" fmla="*/ 15 w 17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5" y="5"/>
                  </a:moveTo>
                  <a:cubicBezTo>
                    <a:pt x="17" y="9"/>
                    <a:pt x="16" y="13"/>
                    <a:pt x="13" y="16"/>
                  </a:cubicBezTo>
                  <a:cubicBezTo>
                    <a:pt x="10" y="18"/>
                    <a:pt x="5" y="17"/>
                    <a:pt x="3" y="13"/>
                  </a:cubicBezTo>
                  <a:cubicBezTo>
                    <a:pt x="0" y="10"/>
                    <a:pt x="1" y="5"/>
                    <a:pt x="4" y="3"/>
                  </a:cubicBezTo>
                  <a:cubicBezTo>
                    <a:pt x="8" y="0"/>
                    <a:pt x="12" y="2"/>
                    <a:pt x="15" y="5"/>
                  </a:cubicBez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2" name="Freeform 2201"/>
            <p:cNvSpPr>
              <a:spLocks/>
            </p:cNvSpPr>
            <p:nvPr/>
          </p:nvSpPr>
          <p:spPr bwMode="auto">
            <a:xfrm>
              <a:off x="1341438" y="5986462"/>
              <a:ext cx="12700" cy="11113"/>
            </a:xfrm>
            <a:custGeom>
              <a:avLst/>
              <a:gdLst>
                <a:gd name="T0" fmla="*/ 25 w 29"/>
                <a:gd name="T1" fmla="*/ 8 h 29"/>
                <a:gd name="T2" fmla="*/ 22 w 29"/>
                <a:gd name="T3" fmla="*/ 25 h 29"/>
                <a:gd name="T4" fmla="*/ 4 w 29"/>
                <a:gd name="T5" fmla="*/ 22 h 29"/>
                <a:gd name="T6" fmla="*/ 7 w 29"/>
                <a:gd name="T7" fmla="*/ 4 h 29"/>
                <a:gd name="T8" fmla="*/ 25 w 29"/>
                <a:gd name="T9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5" y="8"/>
                  </a:moveTo>
                  <a:cubicBezTo>
                    <a:pt x="29" y="14"/>
                    <a:pt x="27" y="21"/>
                    <a:pt x="22" y="25"/>
                  </a:cubicBezTo>
                  <a:cubicBezTo>
                    <a:pt x="16" y="29"/>
                    <a:pt x="8" y="28"/>
                    <a:pt x="4" y="22"/>
                  </a:cubicBezTo>
                  <a:cubicBezTo>
                    <a:pt x="0" y="16"/>
                    <a:pt x="2" y="8"/>
                    <a:pt x="7" y="4"/>
                  </a:cubicBezTo>
                  <a:cubicBezTo>
                    <a:pt x="13" y="0"/>
                    <a:pt x="21" y="2"/>
                    <a:pt x="25" y="8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3" name="Freeform 2202"/>
            <p:cNvSpPr>
              <a:spLocks/>
            </p:cNvSpPr>
            <p:nvPr/>
          </p:nvSpPr>
          <p:spPr bwMode="auto">
            <a:xfrm>
              <a:off x="1322388" y="5988050"/>
              <a:ext cx="28575" cy="23813"/>
            </a:xfrm>
            <a:custGeom>
              <a:avLst/>
              <a:gdLst>
                <a:gd name="T0" fmla="*/ 18 w 18"/>
                <a:gd name="T1" fmla="*/ 4 h 15"/>
                <a:gd name="T2" fmla="*/ 2 w 18"/>
                <a:gd name="T3" fmla="*/ 15 h 15"/>
                <a:gd name="T4" fmla="*/ 0 w 18"/>
                <a:gd name="T5" fmla="*/ 11 h 15"/>
                <a:gd name="T6" fmla="*/ 16 w 18"/>
                <a:gd name="T7" fmla="*/ 0 h 15"/>
                <a:gd name="T8" fmla="*/ 18 w 18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18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6" y="0"/>
                  </a:lnTo>
                  <a:lnTo>
                    <a:pt x="18" y="4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4" name="Freeform 2203"/>
            <p:cNvSpPr>
              <a:spLocks/>
            </p:cNvSpPr>
            <p:nvPr/>
          </p:nvSpPr>
          <p:spPr bwMode="auto">
            <a:xfrm>
              <a:off x="1320800" y="6003925"/>
              <a:ext cx="7938" cy="7938"/>
            </a:xfrm>
            <a:custGeom>
              <a:avLst/>
              <a:gdLst>
                <a:gd name="T0" fmla="*/ 15 w 17"/>
                <a:gd name="T1" fmla="*/ 5 h 17"/>
                <a:gd name="T2" fmla="*/ 13 w 17"/>
                <a:gd name="T3" fmla="*/ 15 h 17"/>
                <a:gd name="T4" fmla="*/ 2 w 17"/>
                <a:gd name="T5" fmla="*/ 13 h 17"/>
                <a:gd name="T6" fmla="*/ 4 w 17"/>
                <a:gd name="T7" fmla="*/ 2 h 17"/>
                <a:gd name="T8" fmla="*/ 15 w 17"/>
                <a:gd name="T9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5" y="5"/>
                  </a:moveTo>
                  <a:cubicBezTo>
                    <a:pt x="17" y="8"/>
                    <a:pt x="16" y="13"/>
                    <a:pt x="13" y="15"/>
                  </a:cubicBezTo>
                  <a:cubicBezTo>
                    <a:pt x="9" y="17"/>
                    <a:pt x="5" y="16"/>
                    <a:pt x="2" y="13"/>
                  </a:cubicBezTo>
                  <a:cubicBezTo>
                    <a:pt x="0" y="9"/>
                    <a:pt x="1" y="4"/>
                    <a:pt x="4" y="2"/>
                  </a:cubicBezTo>
                  <a:cubicBezTo>
                    <a:pt x="7" y="0"/>
                    <a:pt x="12" y="1"/>
                    <a:pt x="15" y="5"/>
                  </a:cubicBezTo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Freeform 2204"/>
            <p:cNvSpPr>
              <a:spLocks/>
            </p:cNvSpPr>
            <p:nvPr/>
          </p:nvSpPr>
          <p:spPr bwMode="auto">
            <a:xfrm>
              <a:off x="1352550" y="6003925"/>
              <a:ext cx="12700" cy="12700"/>
            </a:xfrm>
            <a:custGeom>
              <a:avLst/>
              <a:gdLst>
                <a:gd name="T0" fmla="*/ 25 w 29"/>
                <a:gd name="T1" fmla="*/ 7 h 29"/>
                <a:gd name="T2" fmla="*/ 21 w 29"/>
                <a:gd name="T3" fmla="*/ 25 h 29"/>
                <a:gd name="T4" fmla="*/ 4 w 29"/>
                <a:gd name="T5" fmla="*/ 21 h 29"/>
                <a:gd name="T6" fmla="*/ 7 w 29"/>
                <a:gd name="T7" fmla="*/ 4 h 29"/>
                <a:gd name="T8" fmla="*/ 25 w 29"/>
                <a:gd name="T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5" y="7"/>
                  </a:moveTo>
                  <a:cubicBezTo>
                    <a:pt x="29" y="13"/>
                    <a:pt x="27" y="21"/>
                    <a:pt x="21" y="25"/>
                  </a:cubicBezTo>
                  <a:cubicBezTo>
                    <a:pt x="15" y="29"/>
                    <a:pt x="8" y="27"/>
                    <a:pt x="4" y="21"/>
                  </a:cubicBezTo>
                  <a:cubicBezTo>
                    <a:pt x="0" y="16"/>
                    <a:pt x="1" y="8"/>
                    <a:pt x="7" y="4"/>
                  </a:cubicBezTo>
                  <a:cubicBezTo>
                    <a:pt x="13" y="0"/>
                    <a:pt x="21" y="1"/>
                    <a:pt x="25" y="7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6" name="Freeform 2205"/>
            <p:cNvSpPr>
              <a:spLocks/>
            </p:cNvSpPr>
            <p:nvPr/>
          </p:nvSpPr>
          <p:spPr bwMode="auto">
            <a:xfrm>
              <a:off x="1331913" y="6005512"/>
              <a:ext cx="30163" cy="23813"/>
            </a:xfrm>
            <a:custGeom>
              <a:avLst/>
              <a:gdLst>
                <a:gd name="T0" fmla="*/ 19 w 19"/>
                <a:gd name="T1" fmla="*/ 4 h 15"/>
                <a:gd name="T2" fmla="*/ 3 w 19"/>
                <a:gd name="T3" fmla="*/ 15 h 15"/>
                <a:gd name="T4" fmla="*/ 0 w 19"/>
                <a:gd name="T5" fmla="*/ 11 h 15"/>
                <a:gd name="T6" fmla="*/ 17 w 19"/>
                <a:gd name="T7" fmla="*/ 0 h 15"/>
                <a:gd name="T8" fmla="*/ 19 w 19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4"/>
                  </a:moveTo>
                  <a:lnTo>
                    <a:pt x="3" y="15"/>
                  </a:lnTo>
                  <a:lnTo>
                    <a:pt x="0" y="11"/>
                  </a:lnTo>
                  <a:lnTo>
                    <a:pt x="17" y="0"/>
                  </a:lnTo>
                  <a:lnTo>
                    <a:pt x="19" y="4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7" name="Freeform 2206"/>
            <p:cNvSpPr>
              <a:spLocks/>
            </p:cNvSpPr>
            <p:nvPr/>
          </p:nvSpPr>
          <p:spPr bwMode="auto">
            <a:xfrm>
              <a:off x="1331913" y="6021387"/>
              <a:ext cx="7938" cy="7938"/>
            </a:xfrm>
            <a:custGeom>
              <a:avLst/>
              <a:gdLst>
                <a:gd name="T0" fmla="*/ 14 w 17"/>
                <a:gd name="T1" fmla="*/ 5 h 18"/>
                <a:gd name="T2" fmla="*/ 13 w 17"/>
                <a:gd name="T3" fmla="*/ 16 h 18"/>
                <a:gd name="T4" fmla="*/ 2 w 17"/>
                <a:gd name="T5" fmla="*/ 13 h 18"/>
                <a:gd name="T6" fmla="*/ 4 w 17"/>
                <a:gd name="T7" fmla="*/ 3 h 18"/>
                <a:gd name="T8" fmla="*/ 14 w 17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4" y="5"/>
                  </a:moveTo>
                  <a:cubicBezTo>
                    <a:pt x="17" y="9"/>
                    <a:pt x="16" y="13"/>
                    <a:pt x="13" y="16"/>
                  </a:cubicBezTo>
                  <a:cubicBezTo>
                    <a:pt x="9" y="18"/>
                    <a:pt x="4" y="17"/>
                    <a:pt x="2" y="13"/>
                  </a:cubicBezTo>
                  <a:cubicBezTo>
                    <a:pt x="0" y="10"/>
                    <a:pt x="0" y="5"/>
                    <a:pt x="4" y="3"/>
                  </a:cubicBezTo>
                  <a:cubicBezTo>
                    <a:pt x="7" y="0"/>
                    <a:pt x="12" y="2"/>
                    <a:pt x="14" y="5"/>
                  </a:cubicBez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8" name="Freeform 2207"/>
            <p:cNvSpPr>
              <a:spLocks/>
            </p:cNvSpPr>
            <p:nvPr/>
          </p:nvSpPr>
          <p:spPr bwMode="auto">
            <a:xfrm>
              <a:off x="1363663" y="6018212"/>
              <a:ext cx="11113" cy="12700"/>
            </a:xfrm>
            <a:custGeom>
              <a:avLst/>
              <a:gdLst>
                <a:gd name="T0" fmla="*/ 25 w 28"/>
                <a:gd name="T1" fmla="*/ 8 h 29"/>
                <a:gd name="T2" fmla="*/ 21 w 28"/>
                <a:gd name="T3" fmla="*/ 25 h 29"/>
                <a:gd name="T4" fmla="*/ 4 w 28"/>
                <a:gd name="T5" fmla="*/ 22 h 29"/>
                <a:gd name="T6" fmla="*/ 7 w 28"/>
                <a:gd name="T7" fmla="*/ 4 h 29"/>
                <a:gd name="T8" fmla="*/ 25 w 28"/>
                <a:gd name="T9" fmla="*/ 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29">
                  <a:moveTo>
                    <a:pt x="25" y="8"/>
                  </a:moveTo>
                  <a:cubicBezTo>
                    <a:pt x="28" y="14"/>
                    <a:pt x="27" y="21"/>
                    <a:pt x="21" y="25"/>
                  </a:cubicBezTo>
                  <a:cubicBezTo>
                    <a:pt x="15" y="29"/>
                    <a:pt x="7" y="28"/>
                    <a:pt x="4" y="22"/>
                  </a:cubicBezTo>
                  <a:cubicBezTo>
                    <a:pt x="0" y="16"/>
                    <a:pt x="1" y="8"/>
                    <a:pt x="7" y="4"/>
                  </a:cubicBezTo>
                  <a:cubicBezTo>
                    <a:pt x="13" y="0"/>
                    <a:pt x="21" y="2"/>
                    <a:pt x="25" y="8"/>
                  </a:cubicBezTo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9" name="Freeform 2208"/>
            <p:cNvSpPr>
              <a:spLocks/>
            </p:cNvSpPr>
            <p:nvPr/>
          </p:nvSpPr>
          <p:spPr bwMode="auto">
            <a:xfrm>
              <a:off x="1343025" y="6021387"/>
              <a:ext cx="28575" cy="22225"/>
            </a:xfrm>
            <a:custGeom>
              <a:avLst/>
              <a:gdLst>
                <a:gd name="T0" fmla="*/ 18 w 18"/>
                <a:gd name="T1" fmla="*/ 3 h 14"/>
                <a:gd name="T2" fmla="*/ 2 w 18"/>
                <a:gd name="T3" fmla="*/ 14 h 14"/>
                <a:gd name="T4" fmla="*/ 0 w 18"/>
                <a:gd name="T5" fmla="*/ 11 h 14"/>
                <a:gd name="T6" fmla="*/ 16 w 18"/>
                <a:gd name="T7" fmla="*/ 0 h 14"/>
                <a:gd name="T8" fmla="*/ 18 w 18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4">
                  <a:moveTo>
                    <a:pt x="18" y="3"/>
                  </a:moveTo>
                  <a:lnTo>
                    <a:pt x="2" y="14"/>
                  </a:lnTo>
                  <a:lnTo>
                    <a:pt x="0" y="11"/>
                  </a:lnTo>
                  <a:lnTo>
                    <a:pt x="16" y="0"/>
                  </a:lnTo>
                  <a:lnTo>
                    <a:pt x="18" y="3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0" name="Freeform 2209"/>
            <p:cNvSpPr>
              <a:spLocks/>
            </p:cNvSpPr>
            <p:nvPr/>
          </p:nvSpPr>
          <p:spPr bwMode="auto">
            <a:xfrm>
              <a:off x="1341438" y="6037262"/>
              <a:ext cx="7938" cy="6350"/>
            </a:xfrm>
            <a:custGeom>
              <a:avLst/>
              <a:gdLst>
                <a:gd name="T0" fmla="*/ 15 w 18"/>
                <a:gd name="T1" fmla="*/ 5 h 17"/>
                <a:gd name="T2" fmla="*/ 13 w 18"/>
                <a:gd name="T3" fmla="*/ 15 h 17"/>
                <a:gd name="T4" fmla="*/ 3 w 18"/>
                <a:gd name="T5" fmla="*/ 13 h 17"/>
                <a:gd name="T6" fmla="*/ 5 w 18"/>
                <a:gd name="T7" fmla="*/ 2 h 17"/>
                <a:gd name="T8" fmla="*/ 15 w 18"/>
                <a:gd name="T9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15" y="5"/>
                  </a:moveTo>
                  <a:cubicBezTo>
                    <a:pt x="18" y="8"/>
                    <a:pt x="17" y="13"/>
                    <a:pt x="13" y="15"/>
                  </a:cubicBezTo>
                  <a:cubicBezTo>
                    <a:pt x="10" y="17"/>
                    <a:pt x="5" y="16"/>
                    <a:pt x="3" y="13"/>
                  </a:cubicBezTo>
                  <a:cubicBezTo>
                    <a:pt x="0" y="9"/>
                    <a:pt x="1" y="4"/>
                    <a:pt x="5" y="2"/>
                  </a:cubicBezTo>
                  <a:cubicBezTo>
                    <a:pt x="8" y="0"/>
                    <a:pt x="13" y="1"/>
                    <a:pt x="15" y="5"/>
                  </a:cubicBez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1" name="Freeform 2210"/>
            <p:cNvSpPr>
              <a:spLocks/>
            </p:cNvSpPr>
            <p:nvPr/>
          </p:nvSpPr>
          <p:spPr bwMode="auto">
            <a:xfrm>
              <a:off x="1373188" y="6034087"/>
              <a:ext cx="12700" cy="12700"/>
            </a:xfrm>
            <a:custGeom>
              <a:avLst/>
              <a:gdLst>
                <a:gd name="T0" fmla="*/ 25 w 29"/>
                <a:gd name="T1" fmla="*/ 7 h 29"/>
                <a:gd name="T2" fmla="*/ 22 w 29"/>
                <a:gd name="T3" fmla="*/ 25 h 29"/>
                <a:gd name="T4" fmla="*/ 4 w 29"/>
                <a:gd name="T5" fmla="*/ 21 h 29"/>
                <a:gd name="T6" fmla="*/ 8 w 29"/>
                <a:gd name="T7" fmla="*/ 4 h 29"/>
                <a:gd name="T8" fmla="*/ 25 w 29"/>
                <a:gd name="T9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9">
                  <a:moveTo>
                    <a:pt x="25" y="7"/>
                  </a:moveTo>
                  <a:cubicBezTo>
                    <a:pt x="29" y="13"/>
                    <a:pt x="27" y="21"/>
                    <a:pt x="22" y="25"/>
                  </a:cubicBezTo>
                  <a:cubicBezTo>
                    <a:pt x="16" y="29"/>
                    <a:pt x="8" y="27"/>
                    <a:pt x="4" y="21"/>
                  </a:cubicBezTo>
                  <a:cubicBezTo>
                    <a:pt x="0" y="16"/>
                    <a:pt x="2" y="8"/>
                    <a:pt x="8" y="4"/>
                  </a:cubicBezTo>
                  <a:cubicBezTo>
                    <a:pt x="13" y="0"/>
                    <a:pt x="21" y="2"/>
                    <a:pt x="25" y="7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2" name="Freeform 2211"/>
            <p:cNvSpPr>
              <a:spLocks/>
            </p:cNvSpPr>
            <p:nvPr/>
          </p:nvSpPr>
          <p:spPr bwMode="auto">
            <a:xfrm>
              <a:off x="1352550" y="6037262"/>
              <a:ext cx="30163" cy="22225"/>
            </a:xfrm>
            <a:custGeom>
              <a:avLst/>
              <a:gdLst>
                <a:gd name="T0" fmla="*/ 19 w 19"/>
                <a:gd name="T1" fmla="*/ 3 h 14"/>
                <a:gd name="T2" fmla="*/ 3 w 19"/>
                <a:gd name="T3" fmla="*/ 14 h 14"/>
                <a:gd name="T4" fmla="*/ 0 w 19"/>
                <a:gd name="T5" fmla="*/ 11 h 14"/>
                <a:gd name="T6" fmla="*/ 17 w 19"/>
                <a:gd name="T7" fmla="*/ 0 h 14"/>
                <a:gd name="T8" fmla="*/ 19 w 19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19" y="3"/>
                  </a:moveTo>
                  <a:lnTo>
                    <a:pt x="3" y="14"/>
                  </a:lnTo>
                  <a:lnTo>
                    <a:pt x="0" y="11"/>
                  </a:lnTo>
                  <a:lnTo>
                    <a:pt x="17" y="0"/>
                  </a:lnTo>
                  <a:lnTo>
                    <a:pt x="19" y="3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3" name="Freeform 2212"/>
            <p:cNvSpPr>
              <a:spLocks/>
            </p:cNvSpPr>
            <p:nvPr/>
          </p:nvSpPr>
          <p:spPr bwMode="auto">
            <a:xfrm>
              <a:off x="1352550" y="6053137"/>
              <a:ext cx="7938" cy="6350"/>
            </a:xfrm>
            <a:custGeom>
              <a:avLst/>
              <a:gdLst>
                <a:gd name="T0" fmla="*/ 15 w 17"/>
                <a:gd name="T1" fmla="*/ 4 h 17"/>
                <a:gd name="T2" fmla="*/ 13 w 17"/>
                <a:gd name="T3" fmla="*/ 15 h 17"/>
                <a:gd name="T4" fmla="*/ 2 w 17"/>
                <a:gd name="T5" fmla="*/ 12 h 17"/>
                <a:gd name="T6" fmla="*/ 4 w 17"/>
                <a:gd name="T7" fmla="*/ 2 h 17"/>
                <a:gd name="T8" fmla="*/ 15 w 17"/>
                <a:gd name="T9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5" y="4"/>
                  </a:moveTo>
                  <a:cubicBezTo>
                    <a:pt x="17" y="8"/>
                    <a:pt x="16" y="13"/>
                    <a:pt x="13" y="15"/>
                  </a:cubicBezTo>
                  <a:cubicBezTo>
                    <a:pt x="10" y="17"/>
                    <a:pt x="5" y="16"/>
                    <a:pt x="2" y="12"/>
                  </a:cubicBezTo>
                  <a:cubicBezTo>
                    <a:pt x="0" y="9"/>
                    <a:pt x="1" y="4"/>
                    <a:pt x="4" y="2"/>
                  </a:cubicBezTo>
                  <a:cubicBezTo>
                    <a:pt x="8" y="0"/>
                    <a:pt x="12" y="1"/>
                    <a:pt x="15" y="4"/>
                  </a:cubicBez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4" name="Freeform 2213"/>
            <p:cNvSpPr>
              <a:spLocks/>
            </p:cNvSpPr>
            <p:nvPr/>
          </p:nvSpPr>
          <p:spPr bwMode="auto">
            <a:xfrm>
              <a:off x="1384300" y="6049962"/>
              <a:ext cx="12700" cy="12700"/>
            </a:xfrm>
            <a:custGeom>
              <a:avLst/>
              <a:gdLst>
                <a:gd name="T0" fmla="*/ 25 w 29"/>
                <a:gd name="T1" fmla="*/ 7 h 28"/>
                <a:gd name="T2" fmla="*/ 21 w 29"/>
                <a:gd name="T3" fmla="*/ 24 h 28"/>
                <a:gd name="T4" fmla="*/ 4 w 29"/>
                <a:gd name="T5" fmla="*/ 21 h 28"/>
                <a:gd name="T6" fmla="*/ 7 w 29"/>
                <a:gd name="T7" fmla="*/ 3 h 28"/>
                <a:gd name="T8" fmla="*/ 25 w 29"/>
                <a:gd name="T9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8">
                  <a:moveTo>
                    <a:pt x="25" y="7"/>
                  </a:moveTo>
                  <a:cubicBezTo>
                    <a:pt x="29" y="13"/>
                    <a:pt x="27" y="21"/>
                    <a:pt x="21" y="24"/>
                  </a:cubicBezTo>
                  <a:cubicBezTo>
                    <a:pt x="16" y="28"/>
                    <a:pt x="8" y="27"/>
                    <a:pt x="4" y="21"/>
                  </a:cubicBezTo>
                  <a:cubicBezTo>
                    <a:pt x="0" y="15"/>
                    <a:pt x="2" y="7"/>
                    <a:pt x="7" y="3"/>
                  </a:cubicBezTo>
                  <a:cubicBezTo>
                    <a:pt x="13" y="0"/>
                    <a:pt x="21" y="1"/>
                    <a:pt x="25" y="7"/>
                  </a:cubicBezTo>
                  <a:close/>
                </a:path>
              </a:pathLst>
            </a:custGeom>
            <a:solidFill>
              <a:srgbClr val="494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5" name="Freeform 2214"/>
            <p:cNvSpPr>
              <a:spLocks/>
            </p:cNvSpPr>
            <p:nvPr/>
          </p:nvSpPr>
          <p:spPr bwMode="auto">
            <a:xfrm>
              <a:off x="1363663" y="6051550"/>
              <a:ext cx="30163" cy="23813"/>
            </a:xfrm>
            <a:custGeom>
              <a:avLst/>
              <a:gdLst>
                <a:gd name="T0" fmla="*/ 19 w 19"/>
                <a:gd name="T1" fmla="*/ 4 h 15"/>
                <a:gd name="T2" fmla="*/ 2 w 19"/>
                <a:gd name="T3" fmla="*/ 15 h 15"/>
                <a:gd name="T4" fmla="*/ 0 w 19"/>
                <a:gd name="T5" fmla="*/ 11 h 15"/>
                <a:gd name="T6" fmla="*/ 16 w 19"/>
                <a:gd name="T7" fmla="*/ 0 h 15"/>
                <a:gd name="T8" fmla="*/ 19 w 19"/>
                <a:gd name="T9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5">
                  <a:moveTo>
                    <a:pt x="19" y="4"/>
                  </a:moveTo>
                  <a:lnTo>
                    <a:pt x="2" y="15"/>
                  </a:lnTo>
                  <a:lnTo>
                    <a:pt x="0" y="11"/>
                  </a:lnTo>
                  <a:lnTo>
                    <a:pt x="16" y="0"/>
                  </a:lnTo>
                  <a:lnTo>
                    <a:pt x="19" y="4"/>
                  </a:lnTo>
                  <a:close/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6" name="Freeform 2216"/>
            <p:cNvSpPr>
              <a:spLocks/>
            </p:cNvSpPr>
            <p:nvPr/>
          </p:nvSpPr>
          <p:spPr bwMode="auto">
            <a:xfrm>
              <a:off x="1362075" y="6067425"/>
              <a:ext cx="7938" cy="7938"/>
            </a:xfrm>
            <a:custGeom>
              <a:avLst/>
              <a:gdLst>
                <a:gd name="T0" fmla="*/ 15 w 17"/>
                <a:gd name="T1" fmla="*/ 5 h 18"/>
                <a:gd name="T2" fmla="*/ 13 w 17"/>
                <a:gd name="T3" fmla="*/ 15 h 18"/>
                <a:gd name="T4" fmla="*/ 2 w 17"/>
                <a:gd name="T5" fmla="*/ 13 h 18"/>
                <a:gd name="T6" fmla="*/ 4 w 17"/>
                <a:gd name="T7" fmla="*/ 2 h 18"/>
                <a:gd name="T8" fmla="*/ 15 w 17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8">
                  <a:moveTo>
                    <a:pt x="15" y="5"/>
                  </a:moveTo>
                  <a:cubicBezTo>
                    <a:pt x="17" y="8"/>
                    <a:pt x="16" y="13"/>
                    <a:pt x="13" y="15"/>
                  </a:cubicBezTo>
                  <a:cubicBezTo>
                    <a:pt x="9" y="18"/>
                    <a:pt x="5" y="17"/>
                    <a:pt x="2" y="13"/>
                  </a:cubicBezTo>
                  <a:cubicBezTo>
                    <a:pt x="0" y="9"/>
                    <a:pt x="1" y="5"/>
                    <a:pt x="4" y="2"/>
                  </a:cubicBezTo>
                  <a:cubicBezTo>
                    <a:pt x="7" y="0"/>
                    <a:pt x="12" y="1"/>
                    <a:pt x="15" y="5"/>
                  </a:cubicBezTo>
                </a:path>
              </a:pathLst>
            </a:custGeom>
            <a:solidFill>
              <a:srgbClr val="2C31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7" name="Freeform 2217"/>
            <p:cNvSpPr>
              <a:spLocks/>
            </p:cNvSpPr>
            <p:nvPr/>
          </p:nvSpPr>
          <p:spPr bwMode="auto">
            <a:xfrm>
              <a:off x="1411288" y="5638800"/>
              <a:ext cx="68263" cy="274638"/>
            </a:xfrm>
            <a:custGeom>
              <a:avLst/>
              <a:gdLst>
                <a:gd name="T0" fmla="*/ 35 w 158"/>
                <a:gd name="T1" fmla="*/ 638 h 638"/>
                <a:gd name="T2" fmla="*/ 0 w 158"/>
                <a:gd name="T3" fmla="*/ 631 h 638"/>
                <a:gd name="T4" fmla="*/ 42 w 158"/>
                <a:gd name="T5" fmla="*/ 375 h 638"/>
                <a:gd name="T6" fmla="*/ 136 w 158"/>
                <a:gd name="T7" fmla="*/ 0 h 638"/>
                <a:gd name="T8" fmla="*/ 158 w 158"/>
                <a:gd name="T9" fmla="*/ 5 h 638"/>
                <a:gd name="T10" fmla="*/ 96 w 158"/>
                <a:gd name="T11" fmla="*/ 386 h 638"/>
                <a:gd name="T12" fmla="*/ 35 w 158"/>
                <a:gd name="T13" fmla="*/ 638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8" h="638">
                  <a:moveTo>
                    <a:pt x="35" y="638"/>
                  </a:moveTo>
                  <a:lnTo>
                    <a:pt x="0" y="631"/>
                  </a:lnTo>
                  <a:cubicBezTo>
                    <a:pt x="0" y="631"/>
                    <a:pt x="10" y="531"/>
                    <a:pt x="42" y="375"/>
                  </a:cubicBezTo>
                  <a:cubicBezTo>
                    <a:pt x="74" y="219"/>
                    <a:pt x="136" y="0"/>
                    <a:pt x="136" y="0"/>
                  </a:cubicBezTo>
                  <a:lnTo>
                    <a:pt x="158" y="5"/>
                  </a:lnTo>
                  <a:cubicBezTo>
                    <a:pt x="158" y="5"/>
                    <a:pt x="132" y="212"/>
                    <a:pt x="96" y="386"/>
                  </a:cubicBezTo>
                  <a:cubicBezTo>
                    <a:pt x="61" y="560"/>
                    <a:pt x="35" y="638"/>
                    <a:pt x="35" y="638"/>
                  </a:cubicBezTo>
                  <a:close/>
                </a:path>
              </a:pathLst>
            </a:custGeom>
            <a:solidFill>
              <a:srgbClr val="34384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Freeform 2218"/>
            <p:cNvSpPr>
              <a:spLocks/>
            </p:cNvSpPr>
            <p:nvPr/>
          </p:nvSpPr>
          <p:spPr bwMode="auto">
            <a:xfrm>
              <a:off x="1409700" y="5910263"/>
              <a:ext cx="14288" cy="22225"/>
            </a:xfrm>
            <a:custGeom>
              <a:avLst/>
              <a:gdLst>
                <a:gd name="T0" fmla="*/ 8 w 31"/>
                <a:gd name="T1" fmla="*/ 0 h 52"/>
                <a:gd name="T2" fmla="*/ 1 w 31"/>
                <a:gd name="T3" fmla="*/ 38 h 52"/>
                <a:gd name="T4" fmla="*/ 10 w 31"/>
                <a:gd name="T5" fmla="*/ 51 h 52"/>
                <a:gd name="T6" fmla="*/ 23 w 31"/>
                <a:gd name="T7" fmla="*/ 42 h 52"/>
                <a:gd name="T8" fmla="*/ 31 w 31"/>
                <a:gd name="T9" fmla="*/ 5 h 52"/>
                <a:gd name="T10" fmla="*/ 8 w 31"/>
                <a:gd name="T11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52">
                  <a:moveTo>
                    <a:pt x="8" y="0"/>
                  </a:moveTo>
                  <a:lnTo>
                    <a:pt x="1" y="38"/>
                  </a:lnTo>
                  <a:cubicBezTo>
                    <a:pt x="0" y="44"/>
                    <a:pt x="4" y="50"/>
                    <a:pt x="10" y="51"/>
                  </a:cubicBezTo>
                  <a:cubicBezTo>
                    <a:pt x="16" y="52"/>
                    <a:pt x="22" y="48"/>
                    <a:pt x="23" y="42"/>
                  </a:cubicBezTo>
                  <a:lnTo>
                    <a:pt x="31" y="5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C1CD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Freeform 2219"/>
            <p:cNvSpPr>
              <a:spLocks/>
            </p:cNvSpPr>
            <p:nvPr/>
          </p:nvSpPr>
          <p:spPr bwMode="auto">
            <a:xfrm>
              <a:off x="1428750" y="5792788"/>
              <a:ext cx="25400" cy="12700"/>
            </a:xfrm>
            <a:custGeom>
              <a:avLst/>
              <a:gdLst>
                <a:gd name="T0" fmla="*/ 15 w 16"/>
                <a:gd name="T1" fmla="*/ 8 h 8"/>
                <a:gd name="T2" fmla="*/ 0 w 16"/>
                <a:gd name="T3" fmla="*/ 5 h 8"/>
                <a:gd name="T4" fmla="*/ 1 w 16"/>
                <a:gd name="T5" fmla="*/ 0 h 8"/>
                <a:gd name="T6" fmla="*/ 16 w 16"/>
                <a:gd name="T7" fmla="*/ 3 h 8"/>
                <a:gd name="T8" fmla="*/ 15 w 16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8">
                  <a:moveTo>
                    <a:pt x="15" y="8"/>
                  </a:moveTo>
                  <a:lnTo>
                    <a:pt x="0" y="5"/>
                  </a:lnTo>
                  <a:lnTo>
                    <a:pt x="1" y="0"/>
                  </a:lnTo>
                  <a:lnTo>
                    <a:pt x="16" y="3"/>
                  </a:lnTo>
                  <a:lnTo>
                    <a:pt x="15" y="8"/>
                  </a:lnTo>
                  <a:close/>
                </a:path>
              </a:pathLst>
            </a:custGeom>
            <a:solidFill>
              <a:srgbClr val="C1CD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Freeform 2220"/>
            <p:cNvSpPr>
              <a:spLocks/>
            </p:cNvSpPr>
            <p:nvPr/>
          </p:nvSpPr>
          <p:spPr bwMode="auto">
            <a:xfrm>
              <a:off x="1468438" y="5629275"/>
              <a:ext cx="7938" cy="22225"/>
            </a:xfrm>
            <a:custGeom>
              <a:avLst/>
              <a:gdLst>
                <a:gd name="T0" fmla="*/ 19 w 20"/>
                <a:gd name="T1" fmla="*/ 50 h 50"/>
                <a:gd name="T2" fmla="*/ 0 w 20"/>
                <a:gd name="T3" fmla="*/ 46 h 50"/>
                <a:gd name="T4" fmla="*/ 20 w 20"/>
                <a:gd name="T5" fmla="*/ 0 h 50"/>
                <a:gd name="T6" fmla="*/ 19 w 20"/>
                <a:gd name="T7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50">
                  <a:moveTo>
                    <a:pt x="19" y="50"/>
                  </a:moveTo>
                  <a:lnTo>
                    <a:pt x="0" y="46"/>
                  </a:lnTo>
                  <a:lnTo>
                    <a:pt x="20" y="0"/>
                  </a:lnTo>
                  <a:lnTo>
                    <a:pt x="19" y="50"/>
                  </a:lnTo>
                  <a:close/>
                </a:path>
              </a:pathLst>
            </a:custGeom>
            <a:solidFill>
              <a:srgbClr val="C1CD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Freeform 2221"/>
            <p:cNvSpPr>
              <a:spLocks/>
            </p:cNvSpPr>
            <p:nvPr/>
          </p:nvSpPr>
          <p:spPr bwMode="auto">
            <a:xfrm>
              <a:off x="1406525" y="5808663"/>
              <a:ext cx="15875" cy="84138"/>
            </a:xfrm>
            <a:custGeom>
              <a:avLst/>
              <a:gdLst>
                <a:gd name="T0" fmla="*/ 2 w 10"/>
                <a:gd name="T1" fmla="*/ 53 h 53"/>
                <a:gd name="T2" fmla="*/ 0 w 10"/>
                <a:gd name="T3" fmla="*/ 53 h 53"/>
                <a:gd name="T4" fmla="*/ 8 w 10"/>
                <a:gd name="T5" fmla="*/ 0 h 53"/>
                <a:gd name="T6" fmla="*/ 10 w 10"/>
                <a:gd name="T7" fmla="*/ 0 h 53"/>
                <a:gd name="T8" fmla="*/ 2 w 10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53">
                  <a:moveTo>
                    <a:pt x="2" y="53"/>
                  </a:moveTo>
                  <a:lnTo>
                    <a:pt x="0" y="53"/>
                  </a:lnTo>
                  <a:lnTo>
                    <a:pt x="8" y="0"/>
                  </a:lnTo>
                  <a:lnTo>
                    <a:pt x="10" y="0"/>
                  </a:lnTo>
                  <a:lnTo>
                    <a:pt x="2" y="53"/>
                  </a:lnTo>
                  <a:close/>
                </a:path>
              </a:pathLst>
            </a:custGeom>
            <a:solidFill>
              <a:srgbClr val="C1CD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92" name="Connecteur droit 6"/>
          <p:cNvCxnSpPr/>
          <p:nvPr>
            <p:custDataLst>
              <p:tags r:id="rId13"/>
            </p:custDataLst>
          </p:nvPr>
        </p:nvCxnSpPr>
        <p:spPr>
          <a:xfrm flipH="1">
            <a:off x="6871142" y="1649257"/>
            <a:ext cx="1682513" cy="10628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Oval 152"/>
          <p:cNvSpPr>
            <a:spLocks noChangeArrowheads="1"/>
          </p:cNvSpPr>
          <p:nvPr/>
        </p:nvSpPr>
        <p:spPr bwMode="auto">
          <a:xfrm>
            <a:off x="8360629" y="2818663"/>
            <a:ext cx="1190335" cy="1190335"/>
          </a:xfrm>
          <a:prstGeom prst="ellipse">
            <a:avLst/>
          </a:prstGeom>
          <a:solidFill>
            <a:srgbClr val="C8475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3" name="TextBox 12"/>
          <p:cNvSpPr txBox="1"/>
          <p:nvPr/>
        </p:nvSpPr>
        <p:spPr>
          <a:xfrm>
            <a:off x="9472399" y="2459221"/>
            <a:ext cx="253699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2800" b="1" dirty="0">
                <a:solidFill>
                  <a:schemeClr val="bg1"/>
                </a:solidFill>
              </a:rPr>
              <a:t> </a:t>
            </a:r>
          </a:p>
          <a:p>
            <a:pPr lvl="0" algn="ctr">
              <a:defRPr/>
            </a:pPr>
            <a:r>
              <a:rPr lang="ru-RU" sz="2000" b="1" dirty="0">
                <a:solidFill>
                  <a:schemeClr val="bg1"/>
                </a:solidFill>
              </a:rPr>
              <a:t>более</a:t>
            </a:r>
            <a:r>
              <a:rPr lang="ru-RU" sz="2800" b="1" dirty="0">
                <a:solidFill>
                  <a:schemeClr val="bg1"/>
                </a:solidFill>
              </a:rPr>
              <a:t> </a:t>
            </a:r>
            <a:r>
              <a:rPr lang="ru-RU" sz="2800" b="1" dirty="0">
                <a:solidFill>
                  <a:srgbClr val="FFFF00"/>
                </a:solidFill>
              </a:rPr>
              <a:t>600</a:t>
            </a:r>
            <a:r>
              <a:rPr lang="ru-RU" sz="2800" b="1" dirty="0">
                <a:solidFill>
                  <a:schemeClr val="bg1"/>
                </a:solidFill>
              </a:rPr>
              <a:t> </a:t>
            </a:r>
            <a:r>
              <a:rPr lang="ru-RU" sz="2000" b="1" dirty="0">
                <a:solidFill>
                  <a:schemeClr val="bg1"/>
                </a:solidFill>
              </a:rPr>
              <a:t>чел.</a:t>
            </a:r>
          </a:p>
          <a:p>
            <a:pPr lvl="0" algn="ctr">
              <a:defRPr/>
            </a:pPr>
            <a:r>
              <a:rPr lang="ru-RU" sz="2000" b="1" i="1" dirty="0">
                <a:solidFill>
                  <a:schemeClr val="bg1"/>
                </a:solidFill>
              </a:rPr>
              <a:t>произведен возврат денежных средств </a:t>
            </a:r>
          </a:p>
        </p:txBody>
      </p:sp>
      <p:sp>
        <p:nvSpPr>
          <p:cNvPr id="194" name="TextBox 12"/>
          <p:cNvSpPr txBox="1"/>
          <p:nvPr/>
        </p:nvSpPr>
        <p:spPr>
          <a:xfrm flipH="1">
            <a:off x="5607523" y="5188174"/>
            <a:ext cx="242957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sz="2800" b="1" dirty="0">
                <a:solidFill>
                  <a:srgbClr val="FFFF00"/>
                </a:solidFill>
              </a:rPr>
              <a:t>301</a:t>
            </a:r>
            <a:r>
              <a:rPr lang="ru-RU" sz="2800" b="1" dirty="0">
                <a:solidFill>
                  <a:schemeClr val="bg1"/>
                </a:solidFill>
              </a:rPr>
              <a:t> </a:t>
            </a:r>
            <a:r>
              <a:rPr lang="ru-RU" sz="2000" b="1" dirty="0">
                <a:solidFill>
                  <a:schemeClr val="bg1"/>
                </a:solidFill>
              </a:rPr>
              <a:t>чел.</a:t>
            </a:r>
          </a:p>
          <a:p>
            <a:pPr lvl="0" algn="ctr">
              <a:defRPr/>
            </a:pPr>
            <a:r>
              <a:rPr lang="ru-RU" sz="2000" b="1" i="1" dirty="0">
                <a:solidFill>
                  <a:schemeClr val="bg1"/>
                </a:solidFill>
              </a:rPr>
              <a:t>прожили до конца учебного года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420" y="3059563"/>
            <a:ext cx="712498" cy="712498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8724077" y="4693175"/>
            <a:ext cx="346792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kk-KZ" sz="2000" b="1" i="1" dirty="0">
                <a:solidFill>
                  <a:srgbClr val="F4ECF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еспечение льготной картой </a:t>
            </a:r>
            <a:r>
              <a:rPr lang="en-US" sz="2000" b="1" i="1" u="sng" dirty="0" err="1">
                <a:solidFill>
                  <a:srgbClr val="F4ECF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Onay</a:t>
            </a:r>
            <a:r>
              <a:rPr lang="en-US" sz="2000" b="1" i="1" u="sng" dirty="0">
                <a:solidFill>
                  <a:srgbClr val="F4ECF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!</a:t>
            </a:r>
            <a:r>
              <a:rPr lang="kk-KZ" sz="2000" b="1" i="1" dirty="0">
                <a:solidFill>
                  <a:srgbClr val="F4ECF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kk-KZ" sz="2000" b="1" i="1" dirty="0">
                <a:solidFill>
                  <a:srgbClr val="FFFF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ru-RU" sz="2000" b="1" i="1" dirty="0">
                <a:solidFill>
                  <a:srgbClr val="FFFF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600</a:t>
            </a:r>
            <a:r>
              <a:rPr lang="kk-KZ" sz="2000" b="1" i="1" dirty="0">
                <a:solidFill>
                  <a:srgbClr val="FFFF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kk-KZ" sz="2000" b="1" i="1" dirty="0">
                <a:solidFill>
                  <a:srgbClr val="F4ECF8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удентов (первокурсники, студенты переводники с другого вуза, студенты интерны).</a:t>
            </a:r>
            <a:endParaRPr lang="ru-RU" sz="2000" b="1" i="1" dirty="0">
              <a:solidFill>
                <a:srgbClr val="F4ECF8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26" name="Picture 2" descr="Билеты | Общественный транспорт Алматы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023" y="4633198"/>
            <a:ext cx="645126" cy="1031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1565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Freeform: Shape 31">
            <a:extLst>
              <a:ext uri="{FF2B5EF4-FFF2-40B4-BE49-F238E27FC236}">
                <a16:creationId xmlns:a16="http://schemas.microsoft.com/office/drawing/2014/main" id="{8542A000-188C-4240-B70A-F135D4F7458C}"/>
              </a:ext>
            </a:extLst>
          </p:cNvPr>
          <p:cNvSpPr>
            <a:spLocks noChangeAspect="1"/>
          </p:cNvSpPr>
          <p:nvPr/>
        </p:nvSpPr>
        <p:spPr>
          <a:xfrm rot="7860000">
            <a:off x="5576413" y="2516846"/>
            <a:ext cx="5761296" cy="2916142"/>
          </a:xfrm>
          <a:custGeom>
            <a:avLst/>
            <a:gdLst>
              <a:gd name="connsiteX0" fmla="*/ 4094712 w 6337426"/>
              <a:gd name="connsiteY0" fmla="*/ 3207756 h 3207756"/>
              <a:gd name="connsiteX1" fmla="*/ 4272279 w 6337426"/>
              <a:gd name="connsiteY1" fmla="*/ 2978421 h 3207756"/>
              <a:gd name="connsiteX2" fmla="*/ 4621089 w 6337426"/>
              <a:gd name="connsiteY2" fmla="*/ 2442407 h 3207756"/>
              <a:gd name="connsiteX3" fmla="*/ 5297235 w 6337426"/>
              <a:gd name="connsiteY3" fmla="*/ 505371 h 3207756"/>
              <a:gd name="connsiteX4" fmla="*/ 5307513 w 6337426"/>
              <a:gd name="connsiteY4" fmla="*/ 369041 h 3207756"/>
              <a:gd name="connsiteX5" fmla="*/ 5409331 w 6337426"/>
              <a:gd name="connsiteY5" fmla="*/ 418018 h 3207756"/>
              <a:gd name="connsiteX6" fmla="*/ 6337426 w 6337426"/>
              <a:gd name="connsiteY6" fmla="*/ 1603878 h 3207756"/>
              <a:gd name="connsiteX7" fmla="*/ 4110991 w 6337426"/>
              <a:gd name="connsiteY7" fmla="*/ 3205541 h 3207756"/>
              <a:gd name="connsiteX8" fmla="*/ 249013 w 6337426"/>
              <a:gd name="connsiteY8" fmla="*/ 2256666 h 3207756"/>
              <a:gd name="connsiteX9" fmla="*/ 0 w 6337426"/>
              <a:gd name="connsiteY9" fmla="*/ 1603878 h 3207756"/>
              <a:gd name="connsiteX10" fmla="*/ 2226435 w 6337426"/>
              <a:gd name="connsiteY10" fmla="*/ 2215 h 3207756"/>
              <a:gd name="connsiteX11" fmla="*/ 2242713 w 6337426"/>
              <a:gd name="connsiteY11" fmla="*/ 0 h 3207756"/>
              <a:gd name="connsiteX12" fmla="*/ 2065147 w 6337426"/>
              <a:gd name="connsiteY12" fmla="*/ 229334 h 3207756"/>
              <a:gd name="connsiteX13" fmla="*/ 1716336 w 6337426"/>
              <a:gd name="connsiteY13" fmla="*/ 765348 h 3207756"/>
              <a:gd name="connsiteX14" fmla="*/ 1040191 w 6337426"/>
              <a:gd name="connsiteY14" fmla="*/ 2702384 h 3207756"/>
              <a:gd name="connsiteX15" fmla="*/ 1029912 w 6337426"/>
              <a:gd name="connsiteY15" fmla="*/ 2838715 h 3207756"/>
              <a:gd name="connsiteX16" fmla="*/ 928095 w 6337426"/>
              <a:gd name="connsiteY16" fmla="*/ 2789739 h 3207756"/>
              <a:gd name="connsiteX17" fmla="*/ 249013 w 6337426"/>
              <a:gd name="connsiteY17" fmla="*/ 2256666 h 3207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337426" h="3207756">
                <a:moveTo>
                  <a:pt x="4094712" y="3207756"/>
                </a:moveTo>
                <a:lnTo>
                  <a:pt x="4272279" y="2978421"/>
                </a:lnTo>
                <a:cubicBezTo>
                  <a:pt x="4394764" y="2810951"/>
                  <a:pt x="4511712" y="2631854"/>
                  <a:pt x="4621089" y="2442407"/>
                </a:cubicBezTo>
                <a:cubicBezTo>
                  <a:pt x="5003909" y="1779345"/>
                  <a:pt x="5230555" y="1099349"/>
                  <a:pt x="5297235" y="505371"/>
                </a:cubicBezTo>
                <a:lnTo>
                  <a:pt x="5307513" y="369041"/>
                </a:lnTo>
                <a:lnTo>
                  <a:pt x="5409331" y="418018"/>
                </a:lnTo>
                <a:cubicBezTo>
                  <a:pt x="5982755" y="721506"/>
                  <a:pt x="6337426" y="1140771"/>
                  <a:pt x="6337426" y="1603878"/>
                </a:cubicBezTo>
                <a:cubicBezTo>
                  <a:pt x="6337426" y="2356428"/>
                  <a:pt x="5400875" y="2993206"/>
                  <a:pt x="4110991" y="3205541"/>
                </a:cubicBezTo>
                <a:close/>
                <a:moveTo>
                  <a:pt x="249013" y="2256666"/>
                </a:moveTo>
                <a:cubicBezTo>
                  <a:pt x="88668" y="2056025"/>
                  <a:pt x="0" y="1835432"/>
                  <a:pt x="0" y="1603878"/>
                </a:cubicBezTo>
                <a:cubicBezTo>
                  <a:pt x="0" y="851329"/>
                  <a:pt x="936551" y="214550"/>
                  <a:pt x="2226435" y="2215"/>
                </a:cubicBezTo>
                <a:lnTo>
                  <a:pt x="2242713" y="0"/>
                </a:lnTo>
                <a:lnTo>
                  <a:pt x="2065147" y="229334"/>
                </a:lnTo>
                <a:cubicBezTo>
                  <a:pt x="1942662" y="396804"/>
                  <a:pt x="1825713" y="575901"/>
                  <a:pt x="1716336" y="765348"/>
                </a:cubicBezTo>
                <a:cubicBezTo>
                  <a:pt x="1333517" y="1428410"/>
                  <a:pt x="1106871" y="2108406"/>
                  <a:pt x="1040191" y="2702384"/>
                </a:cubicBezTo>
                <a:lnTo>
                  <a:pt x="1029912" y="2838715"/>
                </a:lnTo>
                <a:lnTo>
                  <a:pt x="928095" y="2789739"/>
                </a:lnTo>
                <a:cubicBezTo>
                  <a:pt x="641382" y="2637995"/>
                  <a:pt x="409359" y="2457306"/>
                  <a:pt x="249013" y="2256666"/>
                </a:cubicBezTo>
                <a:close/>
              </a:path>
            </a:pathLst>
          </a:custGeom>
          <a:solidFill>
            <a:srgbClr val="76369A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reeform: Shape 33">
            <a:extLst>
              <a:ext uri="{FF2B5EF4-FFF2-40B4-BE49-F238E27FC236}">
                <a16:creationId xmlns:a16="http://schemas.microsoft.com/office/drawing/2014/main" id="{47099249-91E4-4A38-A803-BD742F17AE2A}"/>
              </a:ext>
            </a:extLst>
          </p:cNvPr>
          <p:cNvSpPr>
            <a:spLocks noChangeAspect="1"/>
          </p:cNvSpPr>
          <p:nvPr/>
        </p:nvSpPr>
        <p:spPr>
          <a:xfrm rot="684917">
            <a:off x="5576413" y="2517736"/>
            <a:ext cx="5761296" cy="2914362"/>
          </a:xfrm>
          <a:custGeom>
            <a:avLst/>
            <a:gdLst>
              <a:gd name="connsiteX0" fmla="*/ 5297772 w 6337426"/>
              <a:gd name="connsiteY0" fmla="*/ 363376 h 3205798"/>
              <a:gd name="connsiteX1" fmla="*/ 5409332 w 6337426"/>
              <a:gd name="connsiteY1" fmla="*/ 417038 h 3205798"/>
              <a:gd name="connsiteX2" fmla="*/ 6337426 w 6337426"/>
              <a:gd name="connsiteY2" fmla="*/ 1602899 h 3205798"/>
              <a:gd name="connsiteX3" fmla="*/ 4110991 w 6337426"/>
              <a:gd name="connsiteY3" fmla="*/ 3204562 h 3205798"/>
              <a:gd name="connsiteX4" fmla="*/ 4101908 w 6337426"/>
              <a:gd name="connsiteY4" fmla="*/ 3205798 h 3205798"/>
              <a:gd name="connsiteX5" fmla="*/ 4282212 w 6337426"/>
              <a:gd name="connsiteY5" fmla="*/ 2969408 h 3205798"/>
              <a:gd name="connsiteX6" fmla="*/ 4627128 w 6337426"/>
              <a:gd name="connsiteY6" fmla="*/ 2430880 h 3205798"/>
              <a:gd name="connsiteX7" fmla="*/ 5289217 w 6337426"/>
              <a:gd name="connsiteY7" fmla="*/ 488994 h 3205798"/>
              <a:gd name="connsiteX8" fmla="*/ 1935307 w 6337426"/>
              <a:gd name="connsiteY8" fmla="*/ 57631 h 3205798"/>
              <a:gd name="connsiteX9" fmla="*/ 2226435 w 6337426"/>
              <a:gd name="connsiteY9" fmla="*/ 1236 h 3205798"/>
              <a:gd name="connsiteX10" fmla="*/ 2235517 w 6337426"/>
              <a:gd name="connsiteY10" fmla="*/ 0 h 3205798"/>
              <a:gd name="connsiteX11" fmla="*/ 2055213 w 6337426"/>
              <a:gd name="connsiteY11" fmla="*/ 236391 h 3205798"/>
              <a:gd name="connsiteX12" fmla="*/ 1710296 w 6337426"/>
              <a:gd name="connsiteY12" fmla="*/ 774918 h 3205798"/>
              <a:gd name="connsiteX13" fmla="*/ 1048208 w 6337426"/>
              <a:gd name="connsiteY13" fmla="*/ 2716805 h 3205798"/>
              <a:gd name="connsiteX14" fmla="*/ 1039653 w 6337426"/>
              <a:gd name="connsiteY14" fmla="*/ 2842421 h 3205798"/>
              <a:gd name="connsiteX15" fmla="*/ 928095 w 6337426"/>
              <a:gd name="connsiteY15" fmla="*/ 2788760 h 3205798"/>
              <a:gd name="connsiteX16" fmla="*/ 0 w 6337426"/>
              <a:gd name="connsiteY16" fmla="*/ 1602899 h 3205798"/>
              <a:gd name="connsiteX17" fmla="*/ 1935307 w 6337426"/>
              <a:gd name="connsiteY17" fmla="*/ 57631 h 3205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337426" h="3205798">
                <a:moveTo>
                  <a:pt x="5297772" y="363376"/>
                </a:moveTo>
                <a:lnTo>
                  <a:pt x="5409332" y="417038"/>
                </a:lnTo>
                <a:cubicBezTo>
                  <a:pt x="5982756" y="720526"/>
                  <a:pt x="6337426" y="1139791"/>
                  <a:pt x="6337426" y="1602899"/>
                </a:cubicBezTo>
                <a:cubicBezTo>
                  <a:pt x="6337426" y="2355449"/>
                  <a:pt x="5400875" y="2992227"/>
                  <a:pt x="4110991" y="3204562"/>
                </a:cubicBezTo>
                <a:lnTo>
                  <a:pt x="4101908" y="3205798"/>
                </a:lnTo>
                <a:lnTo>
                  <a:pt x="4282212" y="2969408"/>
                </a:lnTo>
                <a:cubicBezTo>
                  <a:pt x="4403480" y="2801055"/>
                  <a:pt x="4519127" y="2621115"/>
                  <a:pt x="4627128" y="2430880"/>
                </a:cubicBezTo>
                <a:cubicBezTo>
                  <a:pt x="5005132" y="1765060"/>
                  <a:pt x="5226843" y="1083440"/>
                  <a:pt x="5289217" y="488994"/>
                </a:cubicBezTo>
                <a:close/>
                <a:moveTo>
                  <a:pt x="1935307" y="57631"/>
                </a:moveTo>
                <a:cubicBezTo>
                  <a:pt x="2030082" y="36415"/>
                  <a:pt x="2127213" y="17570"/>
                  <a:pt x="2226435" y="1236"/>
                </a:cubicBezTo>
                <a:lnTo>
                  <a:pt x="2235517" y="0"/>
                </a:lnTo>
                <a:lnTo>
                  <a:pt x="2055213" y="236391"/>
                </a:lnTo>
                <a:cubicBezTo>
                  <a:pt x="1933944" y="404744"/>
                  <a:pt x="1818297" y="584684"/>
                  <a:pt x="1710296" y="774918"/>
                </a:cubicBezTo>
                <a:cubicBezTo>
                  <a:pt x="1332293" y="1440739"/>
                  <a:pt x="1110581" y="2122359"/>
                  <a:pt x="1048208" y="2716805"/>
                </a:cubicBezTo>
                <a:lnTo>
                  <a:pt x="1039653" y="2842421"/>
                </a:lnTo>
                <a:lnTo>
                  <a:pt x="928095" y="2788760"/>
                </a:lnTo>
                <a:cubicBezTo>
                  <a:pt x="354670" y="2485272"/>
                  <a:pt x="0" y="2066007"/>
                  <a:pt x="0" y="1602899"/>
                </a:cubicBezTo>
                <a:cubicBezTo>
                  <a:pt x="0" y="908238"/>
                  <a:pt x="798008" y="312222"/>
                  <a:pt x="1935307" y="57631"/>
                </a:cubicBezTo>
                <a:close/>
              </a:path>
            </a:pathLst>
          </a:cu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reeform: Shape 32">
            <a:extLst>
              <a:ext uri="{FF2B5EF4-FFF2-40B4-BE49-F238E27FC236}">
                <a16:creationId xmlns:a16="http://schemas.microsoft.com/office/drawing/2014/main" id="{455AF554-3107-45AD-891A-AEADE0983B21}"/>
              </a:ext>
            </a:extLst>
          </p:cNvPr>
          <p:cNvSpPr>
            <a:spLocks noChangeAspect="1"/>
          </p:cNvSpPr>
          <p:nvPr/>
        </p:nvSpPr>
        <p:spPr>
          <a:xfrm rot="4260000">
            <a:off x="5576413" y="2515960"/>
            <a:ext cx="5761296" cy="2917916"/>
          </a:xfrm>
          <a:custGeom>
            <a:avLst/>
            <a:gdLst>
              <a:gd name="connsiteX0" fmla="*/ 4087537 w 6337426"/>
              <a:gd name="connsiteY0" fmla="*/ 3209708 h 3209708"/>
              <a:gd name="connsiteX1" fmla="*/ 4262287 w 6337426"/>
              <a:gd name="connsiteY1" fmla="*/ 2987359 h 3209708"/>
              <a:gd name="connsiteX2" fmla="*/ 4614973 w 6337426"/>
              <a:gd name="connsiteY2" fmla="*/ 2453888 h 3209708"/>
              <a:gd name="connsiteX3" fmla="*/ 5305141 w 6337426"/>
              <a:gd name="connsiteY3" fmla="*/ 521803 h 3209708"/>
              <a:gd name="connsiteX4" fmla="*/ 5317302 w 6337426"/>
              <a:gd name="connsiteY4" fmla="*/ 374726 h 3209708"/>
              <a:gd name="connsiteX5" fmla="*/ 5409332 w 6337426"/>
              <a:gd name="connsiteY5" fmla="*/ 418993 h 3209708"/>
              <a:gd name="connsiteX6" fmla="*/ 6337426 w 6337426"/>
              <a:gd name="connsiteY6" fmla="*/ 1604854 h 3209708"/>
              <a:gd name="connsiteX7" fmla="*/ 4110991 w 6337426"/>
              <a:gd name="connsiteY7" fmla="*/ 3206516 h 3209708"/>
              <a:gd name="connsiteX8" fmla="*/ 64377 w 6337426"/>
              <a:gd name="connsiteY8" fmla="*/ 1266868 h 3209708"/>
              <a:gd name="connsiteX9" fmla="*/ 2226435 w 6337426"/>
              <a:gd name="connsiteY9" fmla="*/ 3191 h 3209708"/>
              <a:gd name="connsiteX10" fmla="*/ 2249888 w 6337426"/>
              <a:gd name="connsiteY10" fmla="*/ 0 h 3209708"/>
              <a:gd name="connsiteX11" fmla="*/ 2075138 w 6337426"/>
              <a:gd name="connsiteY11" fmla="*/ 222348 h 3209708"/>
              <a:gd name="connsiteX12" fmla="*/ 1722452 w 6337426"/>
              <a:gd name="connsiteY12" fmla="*/ 755819 h 3209708"/>
              <a:gd name="connsiteX13" fmla="*/ 1032284 w 6337426"/>
              <a:gd name="connsiteY13" fmla="*/ 2687904 h 3209708"/>
              <a:gd name="connsiteX14" fmla="*/ 1020123 w 6337426"/>
              <a:gd name="connsiteY14" fmla="*/ 2834982 h 3209708"/>
              <a:gd name="connsiteX15" fmla="*/ 928095 w 6337426"/>
              <a:gd name="connsiteY15" fmla="*/ 2790715 h 3209708"/>
              <a:gd name="connsiteX16" fmla="*/ 0 w 6337426"/>
              <a:gd name="connsiteY16" fmla="*/ 1604854 h 3209708"/>
              <a:gd name="connsiteX17" fmla="*/ 64377 w 6337426"/>
              <a:gd name="connsiteY17" fmla="*/ 1266868 h 3209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337426" h="3209708">
                <a:moveTo>
                  <a:pt x="4087537" y="3209708"/>
                </a:moveTo>
                <a:lnTo>
                  <a:pt x="4262287" y="2987359"/>
                </a:lnTo>
                <a:cubicBezTo>
                  <a:pt x="4385983" y="2820781"/>
                  <a:pt x="4504226" y="2642537"/>
                  <a:pt x="4614973" y="2453888"/>
                </a:cubicBezTo>
                <a:cubicBezTo>
                  <a:pt x="5002589" y="1793617"/>
                  <a:pt x="5234158" y="1115283"/>
                  <a:pt x="5305141" y="521803"/>
                </a:cubicBezTo>
                <a:lnTo>
                  <a:pt x="5317302" y="374726"/>
                </a:lnTo>
                <a:lnTo>
                  <a:pt x="5409332" y="418993"/>
                </a:lnTo>
                <a:cubicBezTo>
                  <a:pt x="5982756" y="722482"/>
                  <a:pt x="6337426" y="1141747"/>
                  <a:pt x="6337426" y="1604854"/>
                </a:cubicBezTo>
                <a:cubicBezTo>
                  <a:pt x="6337426" y="2357404"/>
                  <a:pt x="5400875" y="2994182"/>
                  <a:pt x="4110991" y="3206516"/>
                </a:cubicBezTo>
                <a:close/>
                <a:moveTo>
                  <a:pt x="64377" y="1266868"/>
                </a:moveTo>
                <a:cubicBezTo>
                  <a:pt x="296533" y="666418"/>
                  <a:pt x="1134995" y="182859"/>
                  <a:pt x="2226435" y="3191"/>
                </a:cubicBezTo>
                <a:lnTo>
                  <a:pt x="2249888" y="0"/>
                </a:lnTo>
                <a:lnTo>
                  <a:pt x="2075138" y="222348"/>
                </a:lnTo>
                <a:cubicBezTo>
                  <a:pt x="1951443" y="388926"/>
                  <a:pt x="1833199" y="567170"/>
                  <a:pt x="1722452" y="755819"/>
                </a:cubicBezTo>
                <a:cubicBezTo>
                  <a:pt x="1334837" y="1416090"/>
                  <a:pt x="1103268" y="2094425"/>
                  <a:pt x="1032284" y="2687904"/>
                </a:cubicBezTo>
                <a:lnTo>
                  <a:pt x="1020123" y="2834982"/>
                </a:lnTo>
                <a:lnTo>
                  <a:pt x="928095" y="2790715"/>
                </a:lnTo>
                <a:cubicBezTo>
                  <a:pt x="354670" y="2487226"/>
                  <a:pt x="0" y="2067961"/>
                  <a:pt x="0" y="1604854"/>
                </a:cubicBezTo>
                <a:cubicBezTo>
                  <a:pt x="0" y="1489077"/>
                  <a:pt x="22167" y="1376040"/>
                  <a:pt x="64377" y="1266868"/>
                </a:cubicBezTo>
                <a:close/>
              </a:path>
            </a:pathLst>
          </a:custGeom>
          <a:solidFill>
            <a:srgbClr val="963A8B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E14C73-C3CE-475E-9593-BB59B7D3E0F1}"/>
              </a:ext>
            </a:extLst>
          </p:cNvPr>
          <p:cNvSpPr txBox="1"/>
          <p:nvPr/>
        </p:nvSpPr>
        <p:spPr>
          <a:xfrm>
            <a:off x="1367312" y="1914873"/>
            <a:ext cx="5439470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ru-RU" sz="2400" b="1" i="1" dirty="0">
                <a:solidFill>
                  <a:srgbClr val="00B0F0"/>
                </a:solidFill>
              </a:rPr>
              <a:t>В  течение </a:t>
            </a:r>
            <a:r>
              <a:rPr lang="ru-RU" sz="2000" b="1" i="1" dirty="0">
                <a:solidFill>
                  <a:srgbClr val="00B0F0"/>
                </a:solidFill>
              </a:rPr>
              <a:t>2020-2021 </a:t>
            </a:r>
            <a:r>
              <a:rPr lang="ru-RU" sz="2400" b="1" i="1" dirty="0">
                <a:solidFill>
                  <a:srgbClr val="00B0F0"/>
                </a:solidFill>
              </a:rPr>
              <a:t>учебного  года свою деятельность осуществляли более 18 студенческих  организаций</a:t>
            </a:r>
            <a:endParaRPr kumimoji="0" lang="en-US" sz="2400" b="1" i="1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/>
            </a:endParaRPr>
          </a:p>
        </p:txBody>
      </p:sp>
      <p:grpSp>
        <p:nvGrpSpPr>
          <p:cNvPr id="11" name="Antenna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035651" y="3107837"/>
            <a:ext cx="325342" cy="656940"/>
            <a:chOff x="-3481389" y="2611438"/>
            <a:chExt cx="330200" cy="666750"/>
          </a:xfrm>
          <a:solidFill>
            <a:schemeClr val="bg1"/>
          </a:solidFill>
        </p:grpSpPr>
        <p:sp>
          <p:nvSpPr>
            <p:cNvPr id="12" name="Antenna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-3262314" y="2670176"/>
              <a:ext cx="53975" cy="57150"/>
            </a:xfrm>
            <a:custGeom>
              <a:avLst/>
              <a:gdLst>
                <a:gd name="T0" fmla="*/ 49 w 91"/>
                <a:gd name="T1" fmla="*/ 94 h 95"/>
                <a:gd name="T2" fmla="*/ 90 w 91"/>
                <a:gd name="T3" fmla="*/ 95 h 95"/>
                <a:gd name="T4" fmla="*/ 1 w 91"/>
                <a:gd name="T5" fmla="*/ 0 h 95"/>
                <a:gd name="T6" fmla="*/ 0 w 91"/>
                <a:gd name="T7" fmla="*/ 41 h 95"/>
                <a:gd name="T8" fmla="*/ 49 w 91"/>
                <a:gd name="T9" fmla="*/ 94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5">
                  <a:moveTo>
                    <a:pt x="49" y="94"/>
                  </a:moveTo>
                  <a:lnTo>
                    <a:pt x="90" y="95"/>
                  </a:lnTo>
                  <a:cubicBezTo>
                    <a:pt x="91" y="45"/>
                    <a:pt x="52" y="2"/>
                    <a:pt x="1" y="0"/>
                  </a:cubicBezTo>
                  <a:lnTo>
                    <a:pt x="0" y="41"/>
                  </a:lnTo>
                  <a:cubicBezTo>
                    <a:pt x="28" y="42"/>
                    <a:pt x="50" y="66"/>
                    <a:pt x="49" y="9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Antenna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-3262314" y="2611438"/>
              <a:ext cx="111125" cy="117475"/>
            </a:xfrm>
            <a:custGeom>
              <a:avLst/>
              <a:gdLst>
                <a:gd name="T0" fmla="*/ 133 w 185"/>
                <a:gd name="T1" fmla="*/ 60 h 195"/>
                <a:gd name="T2" fmla="*/ 1 w 185"/>
                <a:gd name="T3" fmla="*/ 0 h 195"/>
                <a:gd name="T4" fmla="*/ 0 w 185"/>
                <a:gd name="T5" fmla="*/ 40 h 195"/>
                <a:gd name="T6" fmla="*/ 103 w 185"/>
                <a:gd name="T7" fmla="*/ 87 h 195"/>
                <a:gd name="T8" fmla="*/ 143 w 185"/>
                <a:gd name="T9" fmla="*/ 194 h 195"/>
                <a:gd name="T10" fmla="*/ 184 w 185"/>
                <a:gd name="T11" fmla="*/ 195 h 195"/>
                <a:gd name="T12" fmla="*/ 133 w 185"/>
                <a:gd name="T13" fmla="*/ 6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195">
                  <a:moveTo>
                    <a:pt x="133" y="60"/>
                  </a:moveTo>
                  <a:cubicBezTo>
                    <a:pt x="99" y="23"/>
                    <a:pt x="52" y="1"/>
                    <a:pt x="1" y="0"/>
                  </a:cubicBezTo>
                  <a:lnTo>
                    <a:pt x="0" y="40"/>
                  </a:lnTo>
                  <a:cubicBezTo>
                    <a:pt x="40" y="42"/>
                    <a:pt x="76" y="58"/>
                    <a:pt x="103" y="87"/>
                  </a:cubicBezTo>
                  <a:cubicBezTo>
                    <a:pt x="130" y="117"/>
                    <a:pt x="144" y="154"/>
                    <a:pt x="143" y="194"/>
                  </a:cubicBezTo>
                  <a:lnTo>
                    <a:pt x="184" y="195"/>
                  </a:lnTo>
                  <a:cubicBezTo>
                    <a:pt x="185" y="145"/>
                    <a:pt x="167" y="97"/>
                    <a:pt x="133" y="6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Antenna"/>
            <p:cNvSpPr>
              <a:spLocks noEditPoints="1"/>
            </p:cNvSpPr>
            <p:nvPr>
              <p:custDataLst>
                <p:tags r:id="rId34"/>
              </p:custDataLst>
            </p:nvPr>
          </p:nvSpPr>
          <p:spPr bwMode="auto">
            <a:xfrm>
              <a:off x="-3481389" y="2779713"/>
              <a:ext cx="322263" cy="498475"/>
            </a:xfrm>
            <a:custGeom>
              <a:avLst/>
              <a:gdLst>
                <a:gd name="T0" fmla="*/ 400 w 541"/>
                <a:gd name="T1" fmla="*/ 428 h 833"/>
                <a:gd name="T2" fmla="*/ 389 w 541"/>
                <a:gd name="T3" fmla="*/ 398 h 833"/>
                <a:gd name="T4" fmla="*/ 389 w 541"/>
                <a:gd name="T5" fmla="*/ 398 h 833"/>
                <a:gd name="T6" fmla="*/ 301 w 541"/>
                <a:gd name="T7" fmla="*/ 159 h 833"/>
                <a:gd name="T8" fmla="*/ 322 w 541"/>
                <a:gd name="T9" fmla="*/ 159 h 833"/>
                <a:gd name="T10" fmla="*/ 322 w 541"/>
                <a:gd name="T11" fmla="*/ 120 h 833"/>
                <a:gd name="T12" fmla="*/ 287 w 541"/>
                <a:gd name="T13" fmla="*/ 120 h 833"/>
                <a:gd name="T14" fmla="*/ 287 w 541"/>
                <a:gd name="T15" fmla="*/ 0 h 833"/>
                <a:gd name="T16" fmla="*/ 254 w 541"/>
                <a:gd name="T17" fmla="*/ 0 h 833"/>
                <a:gd name="T18" fmla="*/ 254 w 541"/>
                <a:gd name="T19" fmla="*/ 120 h 833"/>
                <a:gd name="T20" fmla="*/ 219 w 541"/>
                <a:gd name="T21" fmla="*/ 120 h 833"/>
                <a:gd name="T22" fmla="*/ 219 w 541"/>
                <a:gd name="T23" fmla="*/ 159 h 833"/>
                <a:gd name="T24" fmla="*/ 240 w 541"/>
                <a:gd name="T25" fmla="*/ 159 h 833"/>
                <a:gd name="T26" fmla="*/ 7 w 541"/>
                <a:gd name="T27" fmla="*/ 793 h 833"/>
                <a:gd name="T28" fmla="*/ 0 w 541"/>
                <a:gd name="T29" fmla="*/ 793 h 833"/>
                <a:gd name="T30" fmla="*/ 0 w 541"/>
                <a:gd name="T31" fmla="*/ 833 h 833"/>
                <a:gd name="T32" fmla="*/ 62 w 541"/>
                <a:gd name="T33" fmla="*/ 833 h 833"/>
                <a:gd name="T34" fmla="*/ 62 w 541"/>
                <a:gd name="T35" fmla="*/ 793 h 833"/>
                <a:gd name="T36" fmla="*/ 49 w 541"/>
                <a:gd name="T37" fmla="*/ 793 h 833"/>
                <a:gd name="T38" fmla="*/ 66 w 541"/>
                <a:gd name="T39" fmla="*/ 746 h 833"/>
                <a:gd name="T40" fmla="*/ 267 w 541"/>
                <a:gd name="T41" fmla="*/ 627 h 833"/>
                <a:gd name="T42" fmla="*/ 476 w 541"/>
                <a:gd name="T43" fmla="*/ 751 h 833"/>
                <a:gd name="T44" fmla="*/ 492 w 541"/>
                <a:gd name="T45" fmla="*/ 793 h 833"/>
                <a:gd name="T46" fmla="*/ 480 w 541"/>
                <a:gd name="T47" fmla="*/ 793 h 833"/>
                <a:gd name="T48" fmla="*/ 480 w 541"/>
                <a:gd name="T49" fmla="*/ 833 h 833"/>
                <a:gd name="T50" fmla="*/ 541 w 541"/>
                <a:gd name="T51" fmla="*/ 833 h 833"/>
                <a:gd name="T52" fmla="*/ 541 w 541"/>
                <a:gd name="T53" fmla="*/ 793 h 833"/>
                <a:gd name="T54" fmla="*/ 534 w 541"/>
                <a:gd name="T55" fmla="*/ 793 h 833"/>
                <a:gd name="T56" fmla="*/ 400 w 541"/>
                <a:gd name="T57" fmla="*/ 428 h 833"/>
                <a:gd name="T58" fmla="*/ 270 w 541"/>
                <a:gd name="T59" fmla="*/ 192 h 833"/>
                <a:gd name="T60" fmla="*/ 335 w 541"/>
                <a:gd name="T61" fmla="*/ 366 h 833"/>
                <a:gd name="T62" fmla="*/ 229 w 541"/>
                <a:gd name="T63" fmla="*/ 304 h 833"/>
                <a:gd name="T64" fmla="*/ 270 w 541"/>
                <a:gd name="T65" fmla="*/ 192 h 833"/>
                <a:gd name="T66" fmla="*/ 88 w 541"/>
                <a:gd name="T67" fmla="*/ 687 h 833"/>
                <a:gd name="T68" fmla="*/ 138 w 541"/>
                <a:gd name="T69" fmla="*/ 550 h 833"/>
                <a:gd name="T70" fmla="*/ 228 w 541"/>
                <a:gd name="T71" fmla="*/ 604 h 833"/>
                <a:gd name="T72" fmla="*/ 88 w 541"/>
                <a:gd name="T73" fmla="*/ 687 h 833"/>
                <a:gd name="T74" fmla="*/ 152 w 541"/>
                <a:gd name="T75" fmla="*/ 512 h 833"/>
                <a:gd name="T76" fmla="*/ 215 w 541"/>
                <a:gd name="T77" fmla="*/ 341 h 833"/>
                <a:gd name="T78" fmla="*/ 356 w 541"/>
                <a:gd name="T79" fmla="*/ 425 h 833"/>
                <a:gd name="T80" fmla="*/ 387 w 541"/>
                <a:gd name="T81" fmla="*/ 509 h 833"/>
                <a:gd name="T82" fmla="*/ 267 w 541"/>
                <a:gd name="T83" fmla="*/ 581 h 833"/>
                <a:gd name="T84" fmla="*/ 152 w 541"/>
                <a:gd name="T85" fmla="*/ 512 h 833"/>
                <a:gd name="T86" fmla="*/ 306 w 541"/>
                <a:gd name="T87" fmla="*/ 604 h 833"/>
                <a:gd name="T88" fmla="*/ 401 w 541"/>
                <a:gd name="T89" fmla="*/ 547 h 833"/>
                <a:gd name="T90" fmla="*/ 455 w 541"/>
                <a:gd name="T91" fmla="*/ 692 h 833"/>
                <a:gd name="T92" fmla="*/ 306 w 541"/>
                <a:gd name="T93" fmla="*/ 604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41" h="833">
                  <a:moveTo>
                    <a:pt x="400" y="428"/>
                  </a:moveTo>
                  <a:lnTo>
                    <a:pt x="389" y="398"/>
                  </a:lnTo>
                  <a:lnTo>
                    <a:pt x="389" y="398"/>
                  </a:lnTo>
                  <a:lnTo>
                    <a:pt x="301" y="159"/>
                  </a:lnTo>
                  <a:lnTo>
                    <a:pt x="322" y="159"/>
                  </a:lnTo>
                  <a:lnTo>
                    <a:pt x="322" y="120"/>
                  </a:lnTo>
                  <a:lnTo>
                    <a:pt x="287" y="120"/>
                  </a:lnTo>
                  <a:lnTo>
                    <a:pt x="287" y="0"/>
                  </a:lnTo>
                  <a:lnTo>
                    <a:pt x="254" y="0"/>
                  </a:lnTo>
                  <a:lnTo>
                    <a:pt x="254" y="120"/>
                  </a:lnTo>
                  <a:lnTo>
                    <a:pt x="219" y="120"/>
                  </a:lnTo>
                  <a:lnTo>
                    <a:pt x="219" y="159"/>
                  </a:lnTo>
                  <a:lnTo>
                    <a:pt x="240" y="159"/>
                  </a:lnTo>
                  <a:lnTo>
                    <a:pt x="7" y="793"/>
                  </a:lnTo>
                  <a:lnTo>
                    <a:pt x="0" y="793"/>
                  </a:lnTo>
                  <a:lnTo>
                    <a:pt x="0" y="833"/>
                  </a:lnTo>
                  <a:lnTo>
                    <a:pt x="62" y="833"/>
                  </a:lnTo>
                  <a:lnTo>
                    <a:pt x="62" y="793"/>
                  </a:lnTo>
                  <a:lnTo>
                    <a:pt x="49" y="793"/>
                  </a:lnTo>
                  <a:lnTo>
                    <a:pt x="66" y="746"/>
                  </a:lnTo>
                  <a:lnTo>
                    <a:pt x="267" y="627"/>
                  </a:lnTo>
                  <a:lnTo>
                    <a:pt x="476" y="751"/>
                  </a:lnTo>
                  <a:lnTo>
                    <a:pt x="492" y="793"/>
                  </a:lnTo>
                  <a:lnTo>
                    <a:pt x="480" y="793"/>
                  </a:lnTo>
                  <a:lnTo>
                    <a:pt x="480" y="833"/>
                  </a:lnTo>
                  <a:lnTo>
                    <a:pt x="541" y="833"/>
                  </a:lnTo>
                  <a:lnTo>
                    <a:pt x="541" y="793"/>
                  </a:lnTo>
                  <a:lnTo>
                    <a:pt x="534" y="793"/>
                  </a:lnTo>
                  <a:lnTo>
                    <a:pt x="400" y="428"/>
                  </a:lnTo>
                  <a:close/>
                  <a:moveTo>
                    <a:pt x="270" y="192"/>
                  </a:moveTo>
                  <a:lnTo>
                    <a:pt x="335" y="366"/>
                  </a:lnTo>
                  <a:lnTo>
                    <a:pt x="229" y="304"/>
                  </a:lnTo>
                  <a:lnTo>
                    <a:pt x="270" y="192"/>
                  </a:lnTo>
                  <a:close/>
                  <a:moveTo>
                    <a:pt x="88" y="687"/>
                  </a:moveTo>
                  <a:lnTo>
                    <a:pt x="138" y="550"/>
                  </a:lnTo>
                  <a:lnTo>
                    <a:pt x="228" y="604"/>
                  </a:lnTo>
                  <a:lnTo>
                    <a:pt x="88" y="687"/>
                  </a:lnTo>
                  <a:close/>
                  <a:moveTo>
                    <a:pt x="152" y="512"/>
                  </a:moveTo>
                  <a:lnTo>
                    <a:pt x="215" y="341"/>
                  </a:lnTo>
                  <a:lnTo>
                    <a:pt x="356" y="425"/>
                  </a:lnTo>
                  <a:lnTo>
                    <a:pt x="387" y="509"/>
                  </a:lnTo>
                  <a:lnTo>
                    <a:pt x="267" y="581"/>
                  </a:lnTo>
                  <a:lnTo>
                    <a:pt x="152" y="512"/>
                  </a:lnTo>
                  <a:close/>
                  <a:moveTo>
                    <a:pt x="306" y="604"/>
                  </a:moveTo>
                  <a:lnTo>
                    <a:pt x="401" y="547"/>
                  </a:lnTo>
                  <a:lnTo>
                    <a:pt x="455" y="692"/>
                  </a:lnTo>
                  <a:lnTo>
                    <a:pt x="306" y="60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6" name="Clipboard8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9775164" y="1919418"/>
            <a:ext cx="490961" cy="656940"/>
          </a:xfrm>
          <a:custGeom>
            <a:avLst/>
            <a:gdLst>
              <a:gd name="T0" fmla="*/ 104 w 938"/>
              <a:gd name="T1" fmla="*/ 1250 h 1250"/>
              <a:gd name="T2" fmla="*/ 0 w 938"/>
              <a:gd name="T3" fmla="*/ 208 h 1250"/>
              <a:gd name="T4" fmla="*/ 365 w 938"/>
              <a:gd name="T5" fmla="*/ 104 h 1250"/>
              <a:gd name="T6" fmla="*/ 261 w 938"/>
              <a:gd name="T7" fmla="*/ 208 h 1250"/>
              <a:gd name="T8" fmla="*/ 625 w 938"/>
              <a:gd name="T9" fmla="*/ 208 h 1250"/>
              <a:gd name="T10" fmla="*/ 677 w 938"/>
              <a:gd name="T11" fmla="*/ 156 h 1250"/>
              <a:gd name="T12" fmla="*/ 834 w 938"/>
              <a:gd name="T13" fmla="*/ 104 h 1250"/>
              <a:gd name="T14" fmla="*/ 938 w 938"/>
              <a:gd name="T15" fmla="*/ 1146 h 1250"/>
              <a:gd name="T16" fmla="*/ 209 w 938"/>
              <a:gd name="T17" fmla="*/ 365 h 1250"/>
              <a:gd name="T18" fmla="*/ 104 w 938"/>
              <a:gd name="T19" fmla="*/ 469 h 1250"/>
              <a:gd name="T20" fmla="*/ 209 w 938"/>
              <a:gd name="T21" fmla="*/ 365 h 1250"/>
              <a:gd name="T22" fmla="*/ 104 w 938"/>
              <a:gd name="T23" fmla="*/ 573 h 1250"/>
              <a:gd name="T24" fmla="*/ 209 w 938"/>
              <a:gd name="T25" fmla="*/ 677 h 1250"/>
              <a:gd name="T26" fmla="*/ 209 w 938"/>
              <a:gd name="T27" fmla="*/ 781 h 1250"/>
              <a:gd name="T28" fmla="*/ 104 w 938"/>
              <a:gd name="T29" fmla="*/ 885 h 1250"/>
              <a:gd name="T30" fmla="*/ 209 w 938"/>
              <a:gd name="T31" fmla="*/ 781 h 1250"/>
              <a:gd name="T32" fmla="*/ 104 w 938"/>
              <a:gd name="T33" fmla="*/ 990 h 1250"/>
              <a:gd name="T34" fmla="*/ 209 w 938"/>
              <a:gd name="T35" fmla="*/ 1094 h 1250"/>
              <a:gd name="T36" fmla="*/ 834 w 938"/>
              <a:gd name="T37" fmla="*/ 365 h 1250"/>
              <a:gd name="T38" fmla="*/ 313 w 938"/>
              <a:gd name="T39" fmla="*/ 469 h 1250"/>
              <a:gd name="T40" fmla="*/ 834 w 938"/>
              <a:gd name="T41" fmla="*/ 365 h 1250"/>
              <a:gd name="T42" fmla="*/ 313 w 938"/>
              <a:gd name="T43" fmla="*/ 573 h 1250"/>
              <a:gd name="T44" fmla="*/ 834 w 938"/>
              <a:gd name="T45" fmla="*/ 677 h 1250"/>
              <a:gd name="T46" fmla="*/ 834 w 938"/>
              <a:gd name="T47" fmla="*/ 781 h 1250"/>
              <a:gd name="T48" fmla="*/ 313 w 938"/>
              <a:gd name="T49" fmla="*/ 885 h 1250"/>
              <a:gd name="T50" fmla="*/ 834 w 938"/>
              <a:gd name="T51" fmla="*/ 781 h 1250"/>
              <a:gd name="T52" fmla="*/ 313 w 938"/>
              <a:gd name="T53" fmla="*/ 990 h 1250"/>
              <a:gd name="T54" fmla="*/ 834 w 938"/>
              <a:gd name="T55" fmla="*/ 1094 h 1250"/>
              <a:gd name="T56" fmla="*/ 417 w 938"/>
              <a:gd name="T57" fmla="*/ 104 h 1250"/>
              <a:gd name="T58" fmla="*/ 365 w 938"/>
              <a:gd name="T59" fmla="*/ 52 h 1250"/>
              <a:gd name="T60" fmla="*/ 521 w 938"/>
              <a:gd name="T61" fmla="*/ 0 h 1250"/>
              <a:gd name="T62" fmla="*/ 573 w 938"/>
              <a:gd name="T63" fmla="*/ 104 h 1250"/>
              <a:gd name="T64" fmla="*/ 417 w 938"/>
              <a:gd name="T65" fmla="*/ 104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38" h="1250">
                <a:moveTo>
                  <a:pt x="834" y="1250"/>
                </a:moveTo>
                <a:lnTo>
                  <a:pt x="104" y="1250"/>
                </a:lnTo>
                <a:cubicBezTo>
                  <a:pt x="47" y="1250"/>
                  <a:pt x="0" y="1203"/>
                  <a:pt x="0" y="1146"/>
                </a:cubicBezTo>
                <a:lnTo>
                  <a:pt x="0" y="208"/>
                </a:lnTo>
                <a:cubicBezTo>
                  <a:pt x="0" y="151"/>
                  <a:pt x="47" y="104"/>
                  <a:pt x="104" y="104"/>
                </a:cubicBezTo>
                <a:lnTo>
                  <a:pt x="365" y="104"/>
                </a:lnTo>
                <a:cubicBezTo>
                  <a:pt x="336" y="104"/>
                  <a:pt x="261" y="127"/>
                  <a:pt x="261" y="156"/>
                </a:cubicBezTo>
                <a:lnTo>
                  <a:pt x="261" y="208"/>
                </a:lnTo>
                <a:lnTo>
                  <a:pt x="313" y="208"/>
                </a:lnTo>
                <a:lnTo>
                  <a:pt x="625" y="208"/>
                </a:lnTo>
                <a:lnTo>
                  <a:pt x="677" y="208"/>
                </a:lnTo>
                <a:lnTo>
                  <a:pt x="677" y="156"/>
                </a:lnTo>
                <a:cubicBezTo>
                  <a:pt x="677" y="127"/>
                  <a:pt x="602" y="104"/>
                  <a:pt x="573" y="104"/>
                </a:cubicBezTo>
                <a:lnTo>
                  <a:pt x="834" y="104"/>
                </a:lnTo>
                <a:cubicBezTo>
                  <a:pt x="891" y="104"/>
                  <a:pt x="938" y="151"/>
                  <a:pt x="938" y="208"/>
                </a:cubicBezTo>
                <a:lnTo>
                  <a:pt x="938" y="1146"/>
                </a:lnTo>
                <a:cubicBezTo>
                  <a:pt x="938" y="1203"/>
                  <a:pt x="891" y="1250"/>
                  <a:pt x="834" y="1250"/>
                </a:cubicBezTo>
                <a:close/>
                <a:moveTo>
                  <a:pt x="209" y="365"/>
                </a:moveTo>
                <a:lnTo>
                  <a:pt x="104" y="365"/>
                </a:lnTo>
                <a:lnTo>
                  <a:pt x="104" y="469"/>
                </a:lnTo>
                <a:lnTo>
                  <a:pt x="209" y="469"/>
                </a:lnTo>
                <a:lnTo>
                  <a:pt x="209" y="365"/>
                </a:lnTo>
                <a:close/>
                <a:moveTo>
                  <a:pt x="209" y="573"/>
                </a:moveTo>
                <a:lnTo>
                  <a:pt x="104" y="573"/>
                </a:lnTo>
                <a:lnTo>
                  <a:pt x="104" y="677"/>
                </a:lnTo>
                <a:lnTo>
                  <a:pt x="209" y="677"/>
                </a:lnTo>
                <a:lnTo>
                  <a:pt x="209" y="573"/>
                </a:lnTo>
                <a:close/>
                <a:moveTo>
                  <a:pt x="209" y="781"/>
                </a:moveTo>
                <a:lnTo>
                  <a:pt x="104" y="781"/>
                </a:lnTo>
                <a:lnTo>
                  <a:pt x="104" y="885"/>
                </a:lnTo>
                <a:lnTo>
                  <a:pt x="209" y="885"/>
                </a:lnTo>
                <a:lnTo>
                  <a:pt x="209" y="781"/>
                </a:lnTo>
                <a:close/>
                <a:moveTo>
                  <a:pt x="209" y="990"/>
                </a:moveTo>
                <a:lnTo>
                  <a:pt x="104" y="990"/>
                </a:lnTo>
                <a:lnTo>
                  <a:pt x="104" y="1094"/>
                </a:lnTo>
                <a:lnTo>
                  <a:pt x="209" y="1094"/>
                </a:lnTo>
                <a:lnTo>
                  <a:pt x="209" y="990"/>
                </a:lnTo>
                <a:close/>
                <a:moveTo>
                  <a:pt x="834" y="365"/>
                </a:moveTo>
                <a:lnTo>
                  <a:pt x="313" y="365"/>
                </a:lnTo>
                <a:lnTo>
                  <a:pt x="313" y="469"/>
                </a:lnTo>
                <a:lnTo>
                  <a:pt x="834" y="469"/>
                </a:lnTo>
                <a:lnTo>
                  <a:pt x="834" y="365"/>
                </a:lnTo>
                <a:close/>
                <a:moveTo>
                  <a:pt x="834" y="573"/>
                </a:moveTo>
                <a:lnTo>
                  <a:pt x="313" y="573"/>
                </a:lnTo>
                <a:lnTo>
                  <a:pt x="313" y="677"/>
                </a:lnTo>
                <a:lnTo>
                  <a:pt x="834" y="677"/>
                </a:lnTo>
                <a:lnTo>
                  <a:pt x="834" y="573"/>
                </a:lnTo>
                <a:close/>
                <a:moveTo>
                  <a:pt x="834" y="781"/>
                </a:moveTo>
                <a:lnTo>
                  <a:pt x="313" y="781"/>
                </a:lnTo>
                <a:lnTo>
                  <a:pt x="313" y="885"/>
                </a:lnTo>
                <a:lnTo>
                  <a:pt x="834" y="885"/>
                </a:lnTo>
                <a:lnTo>
                  <a:pt x="834" y="781"/>
                </a:lnTo>
                <a:close/>
                <a:moveTo>
                  <a:pt x="834" y="990"/>
                </a:moveTo>
                <a:lnTo>
                  <a:pt x="313" y="990"/>
                </a:lnTo>
                <a:lnTo>
                  <a:pt x="313" y="1094"/>
                </a:lnTo>
                <a:lnTo>
                  <a:pt x="834" y="1094"/>
                </a:lnTo>
                <a:lnTo>
                  <a:pt x="834" y="990"/>
                </a:lnTo>
                <a:close/>
                <a:moveTo>
                  <a:pt x="417" y="104"/>
                </a:moveTo>
                <a:lnTo>
                  <a:pt x="365" y="104"/>
                </a:lnTo>
                <a:lnTo>
                  <a:pt x="365" y="52"/>
                </a:lnTo>
                <a:cubicBezTo>
                  <a:pt x="365" y="23"/>
                  <a:pt x="388" y="0"/>
                  <a:pt x="417" y="0"/>
                </a:cubicBezTo>
                <a:lnTo>
                  <a:pt x="521" y="0"/>
                </a:lnTo>
                <a:cubicBezTo>
                  <a:pt x="550" y="0"/>
                  <a:pt x="573" y="23"/>
                  <a:pt x="573" y="52"/>
                </a:cubicBezTo>
                <a:lnTo>
                  <a:pt x="573" y="104"/>
                </a:lnTo>
                <a:lnTo>
                  <a:pt x="521" y="104"/>
                </a:lnTo>
                <a:lnTo>
                  <a:pt x="417" y="104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7" name="DNA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BC97176-9249-429D-9ED3-1AE942603E6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6626960" y="5045731"/>
            <a:ext cx="457219" cy="874387"/>
            <a:chOff x="188" y="57"/>
            <a:chExt cx="93" cy="373"/>
          </a:xfrm>
        </p:grpSpPr>
        <p:sp>
          <p:nvSpPr>
            <p:cNvPr id="18" name="DNA">
              <a:extLst>
                <a:ext uri="{FF2B5EF4-FFF2-40B4-BE49-F238E27FC236}">
                  <a16:creationId xmlns:a16="http://schemas.microsoft.com/office/drawing/2014/main" id="{3C09E7ED-EF96-4A31-8040-C6344DA58606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188" y="57"/>
              <a:ext cx="93" cy="373"/>
            </a:xfrm>
            <a:custGeom>
              <a:avLst/>
              <a:gdLst>
                <a:gd name="T0" fmla="*/ 0 w 249"/>
                <a:gd name="T1" fmla="*/ 0 h 992"/>
                <a:gd name="T2" fmla="*/ 112 w 249"/>
                <a:gd name="T3" fmla="*/ 240 h 992"/>
                <a:gd name="T4" fmla="*/ 249 w 249"/>
                <a:gd name="T5" fmla="*/ 490 h 992"/>
                <a:gd name="T6" fmla="*/ 122 w 249"/>
                <a:gd name="T7" fmla="*/ 740 h 992"/>
                <a:gd name="T8" fmla="*/ 0 w 249"/>
                <a:gd name="T9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9" h="992">
                  <a:moveTo>
                    <a:pt x="0" y="0"/>
                  </a:moveTo>
                  <a:cubicBezTo>
                    <a:pt x="0" y="0"/>
                    <a:pt x="4" y="154"/>
                    <a:pt x="112" y="240"/>
                  </a:cubicBezTo>
                  <a:cubicBezTo>
                    <a:pt x="220" y="325"/>
                    <a:pt x="249" y="415"/>
                    <a:pt x="249" y="490"/>
                  </a:cubicBezTo>
                  <a:cubicBezTo>
                    <a:pt x="249" y="565"/>
                    <a:pt x="196" y="666"/>
                    <a:pt x="122" y="740"/>
                  </a:cubicBezTo>
                  <a:cubicBezTo>
                    <a:pt x="48" y="814"/>
                    <a:pt x="0" y="944"/>
                    <a:pt x="0" y="992"/>
                  </a:cubicBezTo>
                </a:path>
              </a:pathLst>
            </a:cu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50000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DNA">
              <a:extLst>
                <a:ext uri="{FF2B5EF4-FFF2-40B4-BE49-F238E27FC236}">
                  <a16:creationId xmlns:a16="http://schemas.microsoft.com/office/drawing/2014/main" id="{9AF91851-C89A-4CCC-B82A-4B6D858F8B5D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88" y="57"/>
              <a:ext cx="93" cy="373"/>
            </a:xfrm>
            <a:custGeom>
              <a:avLst/>
              <a:gdLst>
                <a:gd name="T0" fmla="*/ 249 w 249"/>
                <a:gd name="T1" fmla="*/ 0 h 992"/>
                <a:gd name="T2" fmla="*/ 137 w 249"/>
                <a:gd name="T3" fmla="*/ 240 h 992"/>
                <a:gd name="T4" fmla="*/ 0 w 249"/>
                <a:gd name="T5" fmla="*/ 490 h 992"/>
                <a:gd name="T6" fmla="*/ 126 w 249"/>
                <a:gd name="T7" fmla="*/ 740 h 992"/>
                <a:gd name="T8" fmla="*/ 249 w 249"/>
                <a:gd name="T9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9" h="992">
                  <a:moveTo>
                    <a:pt x="249" y="0"/>
                  </a:moveTo>
                  <a:cubicBezTo>
                    <a:pt x="249" y="0"/>
                    <a:pt x="245" y="154"/>
                    <a:pt x="137" y="240"/>
                  </a:cubicBezTo>
                  <a:cubicBezTo>
                    <a:pt x="28" y="325"/>
                    <a:pt x="0" y="415"/>
                    <a:pt x="0" y="490"/>
                  </a:cubicBezTo>
                  <a:cubicBezTo>
                    <a:pt x="0" y="565"/>
                    <a:pt x="52" y="666"/>
                    <a:pt x="126" y="740"/>
                  </a:cubicBezTo>
                  <a:cubicBezTo>
                    <a:pt x="200" y="814"/>
                    <a:pt x="249" y="944"/>
                    <a:pt x="249" y="992"/>
                  </a:cubicBezTo>
                </a:path>
              </a:pathLst>
            </a:cu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50000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DNA">
              <a:extLst>
                <a:ext uri="{FF2B5EF4-FFF2-40B4-BE49-F238E27FC236}">
                  <a16:creationId xmlns:a16="http://schemas.microsoft.com/office/drawing/2014/main" id="{3C1CDA6E-7E26-4899-915E-40DCDC394CC1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190" y="70"/>
              <a:ext cx="88" cy="0"/>
            </a:xfrm>
            <a:prstGeom prst="line">
              <a:avLst/>
            </a:pr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50000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DNA">
              <a:extLst>
                <a:ext uri="{FF2B5EF4-FFF2-40B4-BE49-F238E27FC236}">
                  <a16:creationId xmlns:a16="http://schemas.microsoft.com/office/drawing/2014/main" id="{6AF94AEB-1523-45F6-B797-297F203F7066}"/>
                </a:ext>
              </a:extLst>
            </p:cNvPr>
            <p:cNvSpPr>
              <a:spLocks noChangeShapeType="1"/>
            </p:cNvSpPr>
            <p:nvPr>
              <p:custDataLst>
                <p:tags r:id="rId22"/>
              </p:custDataLst>
            </p:nvPr>
          </p:nvSpPr>
          <p:spPr bwMode="auto">
            <a:xfrm>
              <a:off x="197" y="91"/>
              <a:ext cx="74" cy="0"/>
            </a:xfrm>
            <a:prstGeom prst="line">
              <a:avLst/>
            </a:pr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50000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DNA">
              <a:extLst>
                <a:ext uri="{FF2B5EF4-FFF2-40B4-BE49-F238E27FC236}">
                  <a16:creationId xmlns:a16="http://schemas.microsoft.com/office/drawing/2014/main" id="{2D3DDFAD-0D67-4FFF-A15A-51CD1B6BE36B}"/>
                </a:ext>
              </a:extLst>
            </p:cNvPr>
            <p:cNvSpPr>
              <a:spLocks noChangeShapeType="1"/>
            </p:cNvSpPr>
            <p:nvPr>
              <p:custDataLst>
                <p:tags r:id="rId23"/>
              </p:custDataLst>
            </p:nvPr>
          </p:nvSpPr>
          <p:spPr bwMode="auto">
            <a:xfrm>
              <a:off x="211" y="127"/>
              <a:ext cx="48" cy="0"/>
            </a:xfrm>
            <a:prstGeom prst="line">
              <a:avLst/>
            </a:pr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50000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DNA">
              <a:extLst>
                <a:ext uri="{FF2B5EF4-FFF2-40B4-BE49-F238E27FC236}">
                  <a16:creationId xmlns:a16="http://schemas.microsoft.com/office/drawing/2014/main" id="{11566E88-C1DA-4711-9205-CBED14206DFA}"/>
                </a:ext>
              </a:extLst>
            </p:cNvPr>
            <p:cNvSpPr>
              <a:spLocks noChangeShapeType="1"/>
            </p:cNvSpPr>
            <p:nvPr>
              <p:custDataLst>
                <p:tags r:id="rId24"/>
              </p:custDataLst>
            </p:nvPr>
          </p:nvSpPr>
          <p:spPr bwMode="auto">
            <a:xfrm>
              <a:off x="213" y="176"/>
              <a:ext cx="43" cy="0"/>
            </a:xfrm>
            <a:prstGeom prst="line">
              <a:avLst/>
            </a:pr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50000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DNA">
              <a:extLst>
                <a:ext uri="{FF2B5EF4-FFF2-40B4-BE49-F238E27FC236}">
                  <a16:creationId xmlns:a16="http://schemas.microsoft.com/office/drawing/2014/main" id="{231FD7E4-0C04-4CCC-9D01-C5DDD61372EF}"/>
                </a:ext>
              </a:extLst>
            </p:cNvPr>
            <p:cNvSpPr>
              <a:spLocks noChangeShapeType="1"/>
            </p:cNvSpPr>
            <p:nvPr>
              <p:custDataLst>
                <p:tags r:id="rId25"/>
              </p:custDataLst>
            </p:nvPr>
          </p:nvSpPr>
          <p:spPr bwMode="auto">
            <a:xfrm>
              <a:off x="198" y="205"/>
              <a:ext cx="73" cy="0"/>
            </a:xfrm>
            <a:prstGeom prst="line">
              <a:avLst/>
            </a:pr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50000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DNA">
              <a:extLst>
                <a:ext uri="{FF2B5EF4-FFF2-40B4-BE49-F238E27FC236}">
                  <a16:creationId xmlns:a16="http://schemas.microsoft.com/office/drawing/2014/main" id="{C98BA677-03D9-4E7A-94A2-C970F136B407}"/>
                </a:ext>
              </a:extLst>
            </p:cNvPr>
            <p:cNvSpPr>
              <a:spLocks noChangeShapeType="1"/>
            </p:cNvSpPr>
            <p:nvPr>
              <p:custDataLst>
                <p:tags r:id="rId26"/>
              </p:custDataLst>
            </p:nvPr>
          </p:nvSpPr>
          <p:spPr bwMode="auto">
            <a:xfrm>
              <a:off x="188" y="241"/>
              <a:ext cx="93" cy="0"/>
            </a:xfrm>
            <a:prstGeom prst="line">
              <a:avLst/>
            </a:pr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50000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DNA">
              <a:extLst>
                <a:ext uri="{FF2B5EF4-FFF2-40B4-BE49-F238E27FC236}">
                  <a16:creationId xmlns:a16="http://schemas.microsoft.com/office/drawing/2014/main" id="{DFD8C061-76C0-4B60-B166-8E85BF760A18}"/>
                </a:ext>
              </a:extLst>
            </p:cNvPr>
            <p:cNvSpPr>
              <a:spLocks noChangeShapeType="1"/>
            </p:cNvSpPr>
            <p:nvPr>
              <p:custDataLst>
                <p:tags r:id="rId27"/>
              </p:custDataLst>
            </p:nvPr>
          </p:nvSpPr>
          <p:spPr bwMode="auto">
            <a:xfrm>
              <a:off x="194" y="264"/>
              <a:ext cx="79" cy="0"/>
            </a:xfrm>
            <a:prstGeom prst="line">
              <a:avLst/>
            </a:pr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50000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DNA">
              <a:extLst>
                <a:ext uri="{FF2B5EF4-FFF2-40B4-BE49-F238E27FC236}">
                  <a16:creationId xmlns:a16="http://schemas.microsoft.com/office/drawing/2014/main" id="{1507C1F5-96EC-4260-ADC4-90E0AC3811E6}"/>
                </a:ext>
              </a:extLst>
            </p:cNvPr>
            <p:cNvSpPr>
              <a:spLocks noChangeShapeType="1"/>
            </p:cNvSpPr>
            <p:nvPr>
              <p:custDataLst>
                <p:tags r:id="rId28"/>
              </p:custDataLst>
            </p:nvPr>
          </p:nvSpPr>
          <p:spPr bwMode="auto">
            <a:xfrm>
              <a:off x="206" y="297"/>
              <a:ext cx="56" cy="0"/>
            </a:xfrm>
            <a:prstGeom prst="line">
              <a:avLst/>
            </a:pr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50000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DNA">
              <a:extLst>
                <a:ext uri="{FF2B5EF4-FFF2-40B4-BE49-F238E27FC236}">
                  <a16:creationId xmlns:a16="http://schemas.microsoft.com/office/drawing/2014/main" id="{916BC607-25E1-4A6F-BFAA-61E19739B568}"/>
                </a:ext>
              </a:extLst>
            </p:cNvPr>
            <p:cNvSpPr>
              <a:spLocks noChangeShapeType="1"/>
            </p:cNvSpPr>
            <p:nvPr>
              <p:custDataLst>
                <p:tags r:id="rId29"/>
              </p:custDataLst>
            </p:nvPr>
          </p:nvSpPr>
          <p:spPr bwMode="auto">
            <a:xfrm>
              <a:off x="215" y="359"/>
              <a:ext cx="39" cy="0"/>
            </a:xfrm>
            <a:prstGeom prst="line">
              <a:avLst/>
            </a:pr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50000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DNA">
              <a:extLst>
                <a:ext uri="{FF2B5EF4-FFF2-40B4-BE49-F238E27FC236}">
                  <a16:creationId xmlns:a16="http://schemas.microsoft.com/office/drawing/2014/main" id="{D5FD42C1-64FE-4AEF-84E6-506FDE0C213B}"/>
                </a:ext>
              </a:extLst>
            </p:cNvPr>
            <p:cNvSpPr>
              <a:spLocks noChangeShapeType="1"/>
            </p:cNvSpPr>
            <p:nvPr>
              <p:custDataLst>
                <p:tags r:id="rId30"/>
              </p:custDataLst>
            </p:nvPr>
          </p:nvSpPr>
          <p:spPr bwMode="auto">
            <a:xfrm>
              <a:off x="200" y="381"/>
              <a:ext cx="68" cy="0"/>
            </a:xfrm>
            <a:prstGeom prst="line">
              <a:avLst/>
            </a:pr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50000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DNA">
              <a:extLst>
                <a:ext uri="{FF2B5EF4-FFF2-40B4-BE49-F238E27FC236}">
                  <a16:creationId xmlns:a16="http://schemas.microsoft.com/office/drawing/2014/main" id="{C6B3436E-0297-4A97-9F52-A6445888B7A5}"/>
                </a:ext>
              </a:extLst>
            </p:cNvPr>
            <p:cNvSpPr>
              <a:spLocks noChangeShapeType="1"/>
            </p:cNvSpPr>
            <p:nvPr>
              <p:custDataLst>
                <p:tags r:id="rId31"/>
              </p:custDataLst>
            </p:nvPr>
          </p:nvSpPr>
          <p:spPr bwMode="auto">
            <a:xfrm>
              <a:off x="189" y="417"/>
              <a:ext cx="91" cy="0"/>
            </a:xfrm>
            <a:prstGeom prst="line">
              <a:avLst/>
            </a:prstGeom>
            <a:no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050000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1" name="Drone3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8621229" y="5734960"/>
            <a:ext cx="720858" cy="722634"/>
            <a:chOff x="8" y="8"/>
            <a:chExt cx="406" cy="407"/>
          </a:xfrm>
          <a:solidFill>
            <a:schemeClr val="bg1"/>
          </a:solidFill>
        </p:grpSpPr>
        <p:sp>
          <p:nvSpPr>
            <p:cNvPr id="32" name="Drone3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Drone3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Drone3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Drone3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Drone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4" name="Medicine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10194224" y="4263410"/>
            <a:ext cx="662539" cy="722634"/>
            <a:chOff x="8" y="-2"/>
            <a:chExt cx="441" cy="481"/>
          </a:xfrm>
          <a:solidFill>
            <a:schemeClr val="bg1"/>
          </a:solidFill>
        </p:grpSpPr>
        <p:sp>
          <p:nvSpPr>
            <p:cNvPr id="45" name="Medicine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33" y="60"/>
              <a:ext cx="42" cy="21"/>
            </a:xfrm>
            <a:custGeom>
              <a:avLst/>
              <a:gdLst>
                <a:gd name="T0" fmla="*/ 113 w 113"/>
                <a:gd name="T1" fmla="*/ 1 h 57"/>
                <a:gd name="T2" fmla="*/ 95 w 113"/>
                <a:gd name="T3" fmla="*/ 13 h 57"/>
                <a:gd name="T4" fmla="*/ 63 w 113"/>
                <a:gd name="T5" fmla="*/ 29 h 57"/>
                <a:gd name="T6" fmla="*/ 41 w 113"/>
                <a:gd name="T7" fmla="*/ 51 h 57"/>
                <a:gd name="T8" fmla="*/ 16 w 113"/>
                <a:gd name="T9" fmla="*/ 56 h 57"/>
                <a:gd name="T10" fmla="*/ 34 w 113"/>
                <a:gd name="T11" fmla="*/ 47 h 57"/>
                <a:gd name="T12" fmla="*/ 22 w 113"/>
                <a:gd name="T13" fmla="*/ 43 h 57"/>
                <a:gd name="T14" fmla="*/ 0 w 113"/>
                <a:gd name="T15" fmla="*/ 41 h 57"/>
                <a:gd name="T16" fmla="*/ 20 w 113"/>
                <a:gd name="T17" fmla="*/ 39 h 57"/>
                <a:gd name="T18" fmla="*/ 49 w 113"/>
                <a:gd name="T19" fmla="*/ 30 h 57"/>
                <a:gd name="T20" fmla="*/ 88 w 113"/>
                <a:gd name="T21" fmla="*/ 6 h 57"/>
                <a:gd name="T22" fmla="*/ 113 w 113"/>
                <a:gd name="T23" fmla="*/ 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3" h="57">
                  <a:moveTo>
                    <a:pt x="113" y="1"/>
                  </a:moveTo>
                  <a:lnTo>
                    <a:pt x="95" y="13"/>
                  </a:lnTo>
                  <a:cubicBezTo>
                    <a:pt x="95" y="13"/>
                    <a:pt x="85" y="13"/>
                    <a:pt x="63" y="29"/>
                  </a:cubicBezTo>
                  <a:cubicBezTo>
                    <a:pt x="48" y="39"/>
                    <a:pt x="48" y="45"/>
                    <a:pt x="41" y="51"/>
                  </a:cubicBezTo>
                  <a:cubicBezTo>
                    <a:pt x="33" y="57"/>
                    <a:pt x="16" y="56"/>
                    <a:pt x="16" y="56"/>
                  </a:cubicBezTo>
                  <a:cubicBezTo>
                    <a:pt x="16" y="56"/>
                    <a:pt x="36" y="52"/>
                    <a:pt x="34" y="47"/>
                  </a:cubicBezTo>
                  <a:cubicBezTo>
                    <a:pt x="33" y="45"/>
                    <a:pt x="29" y="43"/>
                    <a:pt x="22" y="43"/>
                  </a:cubicBezTo>
                  <a:cubicBezTo>
                    <a:pt x="7" y="43"/>
                    <a:pt x="0" y="41"/>
                    <a:pt x="0" y="41"/>
                  </a:cubicBezTo>
                  <a:cubicBezTo>
                    <a:pt x="0" y="41"/>
                    <a:pt x="6" y="41"/>
                    <a:pt x="20" y="39"/>
                  </a:cubicBezTo>
                  <a:cubicBezTo>
                    <a:pt x="32" y="36"/>
                    <a:pt x="41" y="35"/>
                    <a:pt x="49" y="30"/>
                  </a:cubicBezTo>
                  <a:cubicBezTo>
                    <a:pt x="56" y="25"/>
                    <a:pt x="71" y="12"/>
                    <a:pt x="88" y="6"/>
                  </a:cubicBezTo>
                  <a:cubicBezTo>
                    <a:pt x="104" y="0"/>
                    <a:pt x="113" y="1"/>
                    <a:pt x="113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Medicine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31" y="-2"/>
              <a:ext cx="237" cy="101"/>
            </a:xfrm>
            <a:custGeom>
              <a:avLst/>
              <a:gdLst>
                <a:gd name="T0" fmla="*/ 631 w 631"/>
                <a:gd name="T1" fmla="*/ 268 h 268"/>
                <a:gd name="T2" fmla="*/ 592 w 631"/>
                <a:gd name="T3" fmla="*/ 169 h 268"/>
                <a:gd name="T4" fmla="*/ 437 w 631"/>
                <a:gd name="T5" fmla="*/ 40 h 268"/>
                <a:gd name="T6" fmla="*/ 202 w 631"/>
                <a:gd name="T7" fmla="*/ 68 h 268"/>
                <a:gd name="T8" fmla="*/ 132 w 631"/>
                <a:gd name="T9" fmla="*/ 83 h 268"/>
                <a:gd name="T10" fmla="*/ 31 w 631"/>
                <a:gd name="T11" fmla="*/ 97 h 268"/>
                <a:gd name="T12" fmla="*/ 13 w 631"/>
                <a:gd name="T13" fmla="*/ 147 h 268"/>
                <a:gd name="T14" fmla="*/ 21 w 631"/>
                <a:gd name="T15" fmla="*/ 161 h 268"/>
                <a:gd name="T16" fmla="*/ 25 w 631"/>
                <a:gd name="T17" fmla="*/ 150 h 268"/>
                <a:gd name="T18" fmla="*/ 53 w 631"/>
                <a:gd name="T19" fmla="*/ 168 h 268"/>
                <a:gd name="T20" fmla="*/ 74 w 631"/>
                <a:gd name="T21" fmla="*/ 149 h 268"/>
                <a:gd name="T22" fmla="*/ 135 w 631"/>
                <a:gd name="T23" fmla="*/ 152 h 268"/>
                <a:gd name="T24" fmla="*/ 119 w 631"/>
                <a:gd name="T25" fmla="*/ 179 h 268"/>
                <a:gd name="T26" fmla="*/ 72 w 631"/>
                <a:gd name="T27" fmla="*/ 217 h 268"/>
                <a:gd name="T28" fmla="*/ 114 w 631"/>
                <a:gd name="T29" fmla="*/ 228 h 268"/>
                <a:gd name="T30" fmla="*/ 230 w 631"/>
                <a:gd name="T31" fmla="*/ 139 h 268"/>
                <a:gd name="T32" fmla="*/ 344 w 631"/>
                <a:gd name="T33" fmla="*/ 89 h 268"/>
                <a:gd name="T34" fmla="*/ 531 w 631"/>
                <a:gd name="T35" fmla="*/ 225 h 268"/>
                <a:gd name="T36" fmla="*/ 548 w 631"/>
                <a:gd name="T37" fmla="*/ 268 h 268"/>
                <a:gd name="T38" fmla="*/ 631 w 631"/>
                <a:gd name="T39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31" h="268">
                  <a:moveTo>
                    <a:pt x="631" y="268"/>
                  </a:moveTo>
                  <a:cubicBezTo>
                    <a:pt x="622" y="231"/>
                    <a:pt x="609" y="197"/>
                    <a:pt x="592" y="169"/>
                  </a:cubicBezTo>
                  <a:cubicBezTo>
                    <a:pt x="554" y="108"/>
                    <a:pt x="505" y="62"/>
                    <a:pt x="437" y="40"/>
                  </a:cubicBezTo>
                  <a:cubicBezTo>
                    <a:pt x="311" y="0"/>
                    <a:pt x="229" y="58"/>
                    <a:pt x="202" y="68"/>
                  </a:cubicBezTo>
                  <a:cubicBezTo>
                    <a:pt x="183" y="75"/>
                    <a:pt x="163" y="62"/>
                    <a:pt x="132" y="83"/>
                  </a:cubicBezTo>
                  <a:cubicBezTo>
                    <a:pt x="119" y="92"/>
                    <a:pt x="67" y="93"/>
                    <a:pt x="31" y="97"/>
                  </a:cubicBezTo>
                  <a:cubicBezTo>
                    <a:pt x="0" y="101"/>
                    <a:pt x="10" y="139"/>
                    <a:pt x="13" y="147"/>
                  </a:cubicBezTo>
                  <a:cubicBezTo>
                    <a:pt x="16" y="155"/>
                    <a:pt x="21" y="161"/>
                    <a:pt x="21" y="161"/>
                  </a:cubicBezTo>
                  <a:cubicBezTo>
                    <a:pt x="21" y="161"/>
                    <a:pt x="20" y="150"/>
                    <a:pt x="25" y="150"/>
                  </a:cubicBezTo>
                  <a:cubicBezTo>
                    <a:pt x="30" y="150"/>
                    <a:pt x="53" y="168"/>
                    <a:pt x="53" y="168"/>
                  </a:cubicBezTo>
                  <a:cubicBezTo>
                    <a:pt x="53" y="168"/>
                    <a:pt x="59" y="150"/>
                    <a:pt x="74" y="149"/>
                  </a:cubicBezTo>
                  <a:cubicBezTo>
                    <a:pt x="94" y="149"/>
                    <a:pt x="122" y="152"/>
                    <a:pt x="135" y="152"/>
                  </a:cubicBezTo>
                  <a:cubicBezTo>
                    <a:pt x="160" y="150"/>
                    <a:pt x="119" y="179"/>
                    <a:pt x="119" y="179"/>
                  </a:cubicBezTo>
                  <a:cubicBezTo>
                    <a:pt x="119" y="179"/>
                    <a:pt x="70" y="205"/>
                    <a:pt x="72" y="217"/>
                  </a:cubicBezTo>
                  <a:cubicBezTo>
                    <a:pt x="75" y="230"/>
                    <a:pt x="107" y="229"/>
                    <a:pt x="114" y="228"/>
                  </a:cubicBezTo>
                  <a:cubicBezTo>
                    <a:pt x="141" y="223"/>
                    <a:pt x="220" y="174"/>
                    <a:pt x="230" y="139"/>
                  </a:cubicBezTo>
                  <a:cubicBezTo>
                    <a:pt x="239" y="106"/>
                    <a:pt x="296" y="84"/>
                    <a:pt x="344" y="89"/>
                  </a:cubicBezTo>
                  <a:cubicBezTo>
                    <a:pt x="432" y="97"/>
                    <a:pt x="482" y="133"/>
                    <a:pt x="531" y="225"/>
                  </a:cubicBezTo>
                  <a:cubicBezTo>
                    <a:pt x="538" y="239"/>
                    <a:pt x="543" y="253"/>
                    <a:pt x="548" y="268"/>
                  </a:cubicBezTo>
                  <a:lnTo>
                    <a:pt x="631" y="2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Medicine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8" y="108"/>
              <a:ext cx="441" cy="114"/>
            </a:xfrm>
            <a:custGeom>
              <a:avLst/>
              <a:gdLst>
                <a:gd name="T0" fmla="*/ 587 w 1173"/>
                <a:gd name="T1" fmla="*/ 0 h 303"/>
                <a:gd name="T2" fmla="*/ 0 w 1173"/>
                <a:gd name="T3" fmla="*/ 0 h 303"/>
                <a:gd name="T4" fmla="*/ 460 w 1173"/>
                <a:gd name="T5" fmla="*/ 219 h 303"/>
                <a:gd name="T6" fmla="*/ 538 w 1173"/>
                <a:gd name="T7" fmla="*/ 294 h 303"/>
                <a:gd name="T8" fmla="*/ 538 w 1173"/>
                <a:gd name="T9" fmla="*/ 303 h 303"/>
                <a:gd name="T10" fmla="*/ 635 w 1173"/>
                <a:gd name="T11" fmla="*/ 288 h 303"/>
                <a:gd name="T12" fmla="*/ 713 w 1173"/>
                <a:gd name="T13" fmla="*/ 219 h 303"/>
                <a:gd name="T14" fmla="*/ 1173 w 1173"/>
                <a:gd name="T15" fmla="*/ 0 h 303"/>
                <a:gd name="T16" fmla="*/ 587 w 1173"/>
                <a:gd name="T1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3" h="303">
                  <a:moveTo>
                    <a:pt x="587" y="0"/>
                  </a:moveTo>
                  <a:lnTo>
                    <a:pt x="0" y="0"/>
                  </a:lnTo>
                  <a:cubicBezTo>
                    <a:pt x="0" y="0"/>
                    <a:pt x="36" y="152"/>
                    <a:pt x="460" y="219"/>
                  </a:cubicBezTo>
                  <a:cubicBezTo>
                    <a:pt x="536" y="231"/>
                    <a:pt x="538" y="283"/>
                    <a:pt x="538" y="294"/>
                  </a:cubicBezTo>
                  <a:lnTo>
                    <a:pt x="538" y="303"/>
                  </a:lnTo>
                  <a:cubicBezTo>
                    <a:pt x="574" y="298"/>
                    <a:pt x="606" y="294"/>
                    <a:pt x="635" y="288"/>
                  </a:cubicBezTo>
                  <a:cubicBezTo>
                    <a:pt x="637" y="270"/>
                    <a:pt x="647" y="230"/>
                    <a:pt x="713" y="219"/>
                  </a:cubicBezTo>
                  <a:cubicBezTo>
                    <a:pt x="1137" y="152"/>
                    <a:pt x="1173" y="0"/>
                    <a:pt x="1173" y="0"/>
                  </a:cubicBezTo>
                  <a:lnTo>
                    <a:pt x="58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Medicine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14" y="179"/>
              <a:ext cx="251" cy="162"/>
            </a:xfrm>
            <a:custGeom>
              <a:avLst/>
              <a:gdLst>
                <a:gd name="T0" fmla="*/ 554 w 667"/>
                <a:gd name="T1" fmla="*/ 32 h 430"/>
                <a:gd name="T2" fmla="*/ 487 w 667"/>
                <a:gd name="T3" fmla="*/ 82 h 430"/>
                <a:gd name="T4" fmla="*/ 246 w 667"/>
                <a:gd name="T5" fmla="*/ 140 h 430"/>
                <a:gd name="T6" fmla="*/ 0 w 667"/>
                <a:gd name="T7" fmla="*/ 291 h 430"/>
                <a:gd name="T8" fmla="*/ 234 w 667"/>
                <a:gd name="T9" fmla="*/ 430 h 430"/>
                <a:gd name="T10" fmla="*/ 234 w 667"/>
                <a:gd name="T11" fmla="*/ 341 h 430"/>
                <a:gd name="T12" fmla="*/ 108 w 667"/>
                <a:gd name="T13" fmla="*/ 289 h 430"/>
                <a:gd name="T14" fmla="*/ 246 w 667"/>
                <a:gd name="T15" fmla="*/ 231 h 430"/>
                <a:gd name="T16" fmla="*/ 539 w 667"/>
                <a:gd name="T17" fmla="*/ 151 h 430"/>
                <a:gd name="T18" fmla="*/ 667 w 667"/>
                <a:gd name="T19" fmla="*/ 0 h 430"/>
                <a:gd name="T20" fmla="*/ 554 w 667"/>
                <a:gd name="T21" fmla="*/ 32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7" h="430">
                  <a:moveTo>
                    <a:pt x="554" y="32"/>
                  </a:moveTo>
                  <a:cubicBezTo>
                    <a:pt x="536" y="51"/>
                    <a:pt x="514" y="68"/>
                    <a:pt x="487" y="82"/>
                  </a:cubicBezTo>
                  <a:cubicBezTo>
                    <a:pt x="411" y="119"/>
                    <a:pt x="341" y="129"/>
                    <a:pt x="246" y="140"/>
                  </a:cubicBezTo>
                  <a:cubicBezTo>
                    <a:pt x="231" y="142"/>
                    <a:pt x="0" y="171"/>
                    <a:pt x="0" y="291"/>
                  </a:cubicBezTo>
                  <a:cubicBezTo>
                    <a:pt x="0" y="395"/>
                    <a:pt x="184" y="424"/>
                    <a:pt x="234" y="430"/>
                  </a:cubicBezTo>
                  <a:lnTo>
                    <a:pt x="234" y="341"/>
                  </a:lnTo>
                  <a:cubicBezTo>
                    <a:pt x="200" y="337"/>
                    <a:pt x="108" y="322"/>
                    <a:pt x="108" y="289"/>
                  </a:cubicBezTo>
                  <a:cubicBezTo>
                    <a:pt x="108" y="250"/>
                    <a:pt x="227" y="233"/>
                    <a:pt x="246" y="231"/>
                  </a:cubicBezTo>
                  <a:cubicBezTo>
                    <a:pt x="379" y="215"/>
                    <a:pt x="468" y="189"/>
                    <a:pt x="539" y="151"/>
                  </a:cubicBezTo>
                  <a:cubicBezTo>
                    <a:pt x="605" y="115"/>
                    <a:pt x="645" y="61"/>
                    <a:pt x="667" y="0"/>
                  </a:cubicBezTo>
                  <a:cubicBezTo>
                    <a:pt x="632" y="12"/>
                    <a:pt x="594" y="23"/>
                    <a:pt x="554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Medicine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54" y="314"/>
              <a:ext cx="156" cy="116"/>
            </a:xfrm>
            <a:custGeom>
              <a:avLst/>
              <a:gdLst>
                <a:gd name="T0" fmla="*/ 271 w 413"/>
                <a:gd name="T1" fmla="*/ 0 h 306"/>
                <a:gd name="T2" fmla="*/ 271 w 413"/>
                <a:gd name="T3" fmla="*/ 88 h 306"/>
                <a:gd name="T4" fmla="*/ 324 w 413"/>
                <a:gd name="T5" fmla="*/ 117 h 306"/>
                <a:gd name="T6" fmla="*/ 113 w 413"/>
                <a:gd name="T7" fmla="*/ 205 h 306"/>
                <a:gd name="T8" fmla="*/ 0 w 413"/>
                <a:gd name="T9" fmla="*/ 306 h 306"/>
                <a:gd name="T10" fmla="*/ 99 w 413"/>
                <a:gd name="T11" fmla="*/ 261 h 306"/>
                <a:gd name="T12" fmla="*/ 413 w 413"/>
                <a:gd name="T13" fmla="*/ 109 h 306"/>
                <a:gd name="T14" fmla="*/ 271 w 413"/>
                <a:gd name="T15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3" h="306">
                  <a:moveTo>
                    <a:pt x="271" y="0"/>
                  </a:moveTo>
                  <a:lnTo>
                    <a:pt x="271" y="88"/>
                  </a:lnTo>
                  <a:cubicBezTo>
                    <a:pt x="290" y="92"/>
                    <a:pt x="324" y="101"/>
                    <a:pt x="324" y="117"/>
                  </a:cubicBezTo>
                  <a:cubicBezTo>
                    <a:pt x="324" y="140"/>
                    <a:pt x="197" y="164"/>
                    <a:pt x="113" y="205"/>
                  </a:cubicBezTo>
                  <a:cubicBezTo>
                    <a:pt x="28" y="245"/>
                    <a:pt x="0" y="306"/>
                    <a:pt x="0" y="306"/>
                  </a:cubicBezTo>
                  <a:cubicBezTo>
                    <a:pt x="0" y="306"/>
                    <a:pt x="31" y="279"/>
                    <a:pt x="99" y="261"/>
                  </a:cubicBezTo>
                  <a:cubicBezTo>
                    <a:pt x="166" y="243"/>
                    <a:pt x="413" y="222"/>
                    <a:pt x="413" y="109"/>
                  </a:cubicBezTo>
                  <a:cubicBezTo>
                    <a:pt x="413" y="29"/>
                    <a:pt x="308" y="6"/>
                    <a:pt x="27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Medicine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8" y="411"/>
              <a:ext cx="282" cy="68"/>
            </a:xfrm>
            <a:custGeom>
              <a:avLst/>
              <a:gdLst>
                <a:gd name="T0" fmla="*/ 669 w 751"/>
                <a:gd name="T1" fmla="*/ 126 h 180"/>
                <a:gd name="T2" fmla="*/ 463 w 751"/>
                <a:gd name="T3" fmla="*/ 72 h 180"/>
                <a:gd name="T4" fmla="*/ 424 w 751"/>
                <a:gd name="T5" fmla="*/ 11 h 180"/>
                <a:gd name="T6" fmla="*/ 424 w 751"/>
                <a:gd name="T7" fmla="*/ 0 h 180"/>
                <a:gd name="T8" fmla="*/ 332 w 751"/>
                <a:gd name="T9" fmla="*/ 19 h 180"/>
                <a:gd name="T10" fmla="*/ 327 w 751"/>
                <a:gd name="T11" fmla="*/ 20 h 180"/>
                <a:gd name="T12" fmla="*/ 288 w 751"/>
                <a:gd name="T13" fmla="*/ 72 h 180"/>
                <a:gd name="T14" fmla="*/ 82 w 751"/>
                <a:gd name="T15" fmla="*/ 126 h 180"/>
                <a:gd name="T16" fmla="*/ 0 w 751"/>
                <a:gd name="T17" fmla="*/ 180 h 180"/>
                <a:gd name="T18" fmla="*/ 376 w 751"/>
                <a:gd name="T19" fmla="*/ 180 h 180"/>
                <a:gd name="T20" fmla="*/ 751 w 751"/>
                <a:gd name="T21" fmla="*/ 180 h 180"/>
                <a:gd name="T22" fmla="*/ 669 w 751"/>
                <a:gd name="T23" fmla="*/ 126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1" h="180">
                  <a:moveTo>
                    <a:pt x="669" y="126"/>
                  </a:moveTo>
                  <a:cubicBezTo>
                    <a:pt x="607" y="106"/>
                    <a:pt x="515" y="98"/>
                    <a:pt x="463" y="72"/>
                  </a:cubicBezTo>
                  <a:cubicBezTo>
                    <a:pt x="436" y="58"/>
                    <a:pt x="424" y="37"/>
                    <a:pt x="424" y="11"/>
                  </a:cubicBezTo>
                  <a:cubicBezTo>
                    <a:pt x="424" y="9"/>
                    <a:pt x="424" y="5"/>
                    <a:pt x="424" y="0"/>
                  </a:cubicBezTo>
                  <a:cubicBezTo>
                    <a:pt x="391" y="8"/>
                    <a:pt x="359" y="14"/>
                    <a:pt x="332" y="19"/>
                  </a:cubicBezTo>
                  <a:cubicBezTo>
                    <a:pt x="330" y="19"/>
                    <a:pt x="328" y="20"/>
                    <a:pt x="327" y="20"/>
                  </a:cubicBezTo>
                  <a:cubicBezTo>
                    <a:pt x="324" y="42"/>
                    <a:pt x="312" y="60"/>
                    <a:pt x="288" y="72"/>
                  </a:cubicBezTo>
                  <a:cubicBezTo>
                    <a:pt x="236" y="98"/>
                    <a:pt x="144" y="106"/>
                    <a:pt x="82" y="126"/>
                  </a:cubicBezTo>
                  <a:cubicBezTo>
                    <a:pt x="18" y="147"/>
                    <a:pt x="0" y="180"/>
                    <a:pt x="0" y="180"/>
                  </a:cubicBezTo>
                  <a:lnTo>
                    <a:pt x="376" y="180"/>
                  </a:lnTo>
                  <a:lnTo>
                    <a:pt x="751" y="180"/>
                  </a:lnTo>
                  <a:cubicBezTo>
                    <a:pt x="751" y="180"/>
                    <a:pt x="733" y="147"/>
                    <a:pt x="669" y="12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Medicine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11" y="269"/>
              <a:ext cx="36" cy="106"/>
            </a:xfrm>
            <a:custGeom>
              <a:avLst/>
              <a:gdLst>
                <a:gd name="T0" fmla="*/ 0 w 97"/>
                <a:gd name="T1" fmla="*/ 16 h 282"/>
                <a:gd name="T2" fmla="*/ 0 w 97"/>
                <a:gd name="T3" fmla="*/ 282 h 282"/>
                <a:gd name="T4" fmla="*/ 73 w 97"/>
                <a:gd name="T5" fmla="*/ 257 h 282"/>
                <a:gd name="T6" fmla="*/ 97 w 97"/>
                <a:gd name="T7" fmla="*/ 249 h 282"/>
                <a:gd name="T8" fmla="*/ 97 w 97"/>
                <a:gd name="T9" fmla="*/ 0 h 282"/>
                <a:gd name="T10" fmla="*/ 0 w 97"/>
                <a:gd name="T11" fmla="*/ 16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" h="282">
                  <a:moveTo>
                    <a:pt x="0" y="16"/>
                  </a:moveTo>
                  <a:cubicBezTo>
                    <a:pt x="0" y="101"/>
                    <a:pt x="0" y="206"/>
                    <a:pt x="0" y="282"/>
                  </a:cubicBezTo>
                  <a:cubicBezTo>
                    <a:pt x="24" y="273"/>
                    <a:pt x="49" y="265"/>
                    <a:pt x="73" y="257"/>
                  </a:cubicBezTo>
                  <a:cubicBezTo>
                    <a:pt x="80" y="255"/>
                    <a:pt x="89" y="252"/>
                    <a:pt x="97" y="249"/>
                  </a:cubicBezTo>
                  <a:cubicBezTo>
                    <a:pt x="97" y="172"/>
                    <a:pt x="97" y="77"/>
                    <a:pt x="97" y="0"/>
                  </a:cubicBezTo>
                  <a:cubicBezTo>
                    <a:pt x="67" y="6"/>
                    <a:pt x="35" y="12"/>
                    <a:pt x="0" y="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2" name="Rectangle 51"/>
          <p:cNvSpPr/>
          <p:nvPr/>
        </p:nvSpPr>
        <p:spPr>
          <a:xfrm>
            <a:off x="400415" y="2086679"/>
            <a:ext cx="914852" cy="916461"/>
          </a:xfrm>
          <a:prstGeom prst="rect">
            <a:avLst/>
          </a:prstGeom>
          <a:solidFill>
            <a:srgbClr val="7030A0"/>
          </a:solidFill>
          <a:ln w="571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dirty="0">
                <a:solidFill>
                  <a:srgbClr val="FFC000"/>
                </a:solidFill>
                <a:latin typeface="Calibri"/>
              </a:rPr>
              <a:t>18+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00415" y="3600853"/>
            <a:ext cx="1222029" cy="755703"/>
          </a:xfrm>
          <a:prstGeom prst="rect">
            <a:avLst/>
          </a:prstGeom>
          <a:solidFill>
            <a:srgbClr val="7030A0"/>
          </a:solidFill>
          <a:ln w="571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b="1" dirty="0">
                <a:solidFill>
                  <a:srgbClr val="FFC000"/>
                </a:solidFill>
                <a:latin typeface="Calibri"/>
              </a:rPr>
              <a:t>1600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584314" y="5105072"/>
            <a:ext cx="964267" cy="1038256"/>
          </a:xfrm>
          <a:prstGeom prst="rect">
            <a:avLst/>
          </a:prstGeom>
          <a:solidFill>
            <a:srgbClr val="7030A0"/>
          </a:solidFill>
          <a:ln w="571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b="1" dirty="0">
                <a:solidFill>
                  <a:srgbClr val="FFC000"/>
                </a:solidFill>
                <a:latin typeface="Calibri"/>
              </a:rPr>
              <a:t>30+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7E14C73-C3CE-475E-9593-BB59B7D3E0F1}"/>
              </a:ext>
            </a:extLst>
          </p:cNvPr>
          <p:cNvSpPr txBox="1"/>
          <p:nvPr/>
        </p:nvSpPr>
        <p:spPr>
          <a:xfrm>
            <a:off x="1679957" y="3390880"/>
            <a:ext cx="4008720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1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ктивной</a:t>
            </a:r>
            <a:r>
              <a:rPr kumimoji="0" lang="ru-RU" sz="2400" b="1" i="1" u="none" strike="noStrike" kern="0" cap="none" spc="0" normalizeH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студенческой жизнью охвачены более 1600 студентов</a:t>
            </a:r>
            <a:endParaRPr kumimoji="0" lang="en-US" sz="2400" b="1" i="1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7E14C73-C3CE-475E-9593-BB59B7D3E0F1}"/>
              </a:ext>
            </a:extLst>
          </p:cNvPr>
          <p:cNvSpPr txBox="1"/>
          <p:nvPr/>
        </p:nvSpPr>
        <p:spPr>
          <a:xfrm>
            <a:off x="1720296" y="4818125"/>
            <a:ext cx="4258102" cy="19389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lang="ru-RU" sz="2000" b="1" i="1" dirty="0">
                <a:solidFill>
                  <a:srgbClr val="00B0F0"/>
                </a:solidFill>
              </a:rPr>
              <a:t>В течение учебного года студенческим правительством университета при поддержке управления молодёжной политики было организовано и проведено более  30  мероприятий</a:t>
            </a:r>
            <a:endParaRPr kumimoji="0" lang="en-US" sz="2000" b="0" i="1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237241" y="98819"/>
            <a:ext cx="10134886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3200" b="1" i="1" dirty="0"/>
              <a:t> </a:t>
            </a:r>
            <a:r>
              <a:rPr lang="kk-KZ" sz="3200" b="1" i="1" dirty="0">
                <a:solidFill>
                  <a:srgbClr val="7030A0"/>
                </a:solidFill>
              </a:rPr>
              <a:t> </a:t>
            </a:r>
            <a:r>
              <a:rPr lang="kk-KZ" sz="3200" b="1" i="1" dirty="0">
                <a:solidFill>
                  <a:schemeClr val="bg1"/>
                </a:solidFill>
              </a:rPr>
              <a:t>Обеспечение активного участия студентов в органах студенческого самоуправления </a:t>
            </a:r>
            <a:endParaRPr lang="ru-RU" sz="3200" b="1" i="1" dirty="0">
              <a:solidFill>
                <a:schemeClr val="bg1"/>
              </a:solidFill>
            </a:endParaRPr>
          </a:p>
          <a:p>
            <a:pPr algn="ctr"/>
            <a:endParaRPr lang="ru-RU" dirty="0"/>
          </a:p>
        </p:txBody>
      </p:sp>
      <p:grpSp>
        <p:nvGrpSpPr>
          <p:cNvPr id="59" name="Institution"/>
          <p:cNvGrpSpPr>
            <a:grpSpLocks noChangeAspect="1"/>
          </p:cNvGrpSpPr>
          <p:nvPr>
            <p:custDataLst>
              <p:tags r:id="rId6"/>
            </p:custDataLst>
          </p:nvPr>
        </p:nvGrpSpPr>
        <p:grpSpPr>
          <a:xfrm>
            <a:off x="7724831" y="3273636"/>
            <a:ext cx="1571037" cy="1571037"/>
            <a:chOff x="4097338" y="5499100"/>
            <a:chExt cx="823913" cy="823913"/>
          </a:xfrm>
        </p:grpSpPr>
        <p:sp>
          <p:nvSpPr>
            <p:cNvPr id="60" name="Oval 1301"/>
            <p:cNvSpPr>
              <a:spLocks noChangeArrowheads="1"/>
            </p:cNvSpPr>
            <p:nvPr/>
          </p:nvSpPr>
          <p:spPr bwMode="auto">
            <a:xfrm>
              <a:off x="4097338" y="5499100"/>
              <a:ext cx="823913" cy="823913"/>
            </a:xfrm>
            <a:prstGeom prst="ellipse">
              <a:avLst/>
            </a:prstGeom>
            <a:solidFill>
              <a:srgbClr val="3B53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324"/>
            <p:cNvSpPr>
              <a:spLocks/>
            </p:cNvSpPr>
            <p:nvPr/>
          </p:nvSpPr>
          <p:spPr bwMode="auto">
            <a:xfrm>
              <a:off x="4291013" y="5745162"/>
              <a:ext cx="627063" cy="539750"/>
            </a:xfrm>
            <a:custGeom>
              <a:avLst/>
              <a:gdLst>
                <a:gd name="T0" fmla="*/ 858 w 1459"/>
                <a:gd name="T1" fmla="*/ 0 h 1255"/>
                <a:gd name="T2" fmla="*/ 402 w 1459"/>
                <a:gd name="T3" fmla="*/ 156 h 1255"/>
                <a:gd name="T4" fmla="*/ 423 w 1459"/>
                <a:gd name="T5" fmla="*/ 548 h 1255"/>
                <a:gd name="T6" fmla="*/ 0 w 1459"/>
                <a:gd name="T7" fmla="*/ 732 h 1255"/>
                <a:gd name="T8" fmla="*/ 880 w 1459"/>
                <a:gd name="T9" fmla="*/ 1255 h 1255"/>
                <a:gd name="T10" fmla="*/ 1459 w 1459"/>
                <a:gd name="T11" fmla="*/ 489 h 1255"/>
                <a:gd name="T12" fmla="*/ 858 w 1459"/>
                <a:gd name="T13" fmla="*/ 0 h 1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9" h="1255">
                  <a:moveTo>
                    <a:pt x="858" y="0"/>
                  </a:moveTo>
                  <a:lnTo>
                    <a:pt x="402" y="156"/>
                  </a:lnTo>
                  <a:lnTo>
                    <a:pt x="423" y="548"/>
                  </a:lnTo>
                  <a:lnTo>
                    <a:pt x="0" y="732"/>
                  </a:lnTo>
                  <a:lnTo>
                    <a:pt x="880" y="1255"/>
                  </a:lnTo>
                  <a:cubicBezTo>
                    <a:pt x="1192" y="1150"/>
                    <a:pt x="1423" y="826"/>
                    <a:pt x="1459" y="489"/>
                  </a:cubicBezTo>
                  <a:lnTo>
                    <a:pt x="858" y="0"/>
                  </a:lnTo>
                </a:path>
              </a:pathLst>
            </a:custGeom>
            <a:solidFill>
              <a:srgbClr val="1F2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Rectangle 1640"/>
            <p:cNvSpPr>
              <a:spLocks noChangeArrowheads="1"/>
            </p:cNvSpPr>
            <p:nvPr/>
          </p:nvSpPr>
          <p:spPr bwMode="auto">
            <a:xfrm>
              <a:off x="4284663" y="6016625"/>
              <a:ext cx="441325" cy="666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641"/>
            <p:cNvSpPr>
              <a:spLocks/>
            </p:cNvSpPr>
            <p:nvPr/>
          </p:nvSpPr>
          <p:spPr bwMode="auto">
            <a:xfrm>
              <a:off x="4286250" y="5637212"/>
              <a:ext cx="431800" cy="209550"/>
            </a:xfrm>
            <a:custGeom>
              <a:avLst/>
              <a:gdLst>
                <a:gd name="T0" fmla="*/ 272 w 272"/>
                <a:gd name="T1" fmla="*/ 105 h 132"/>
                <a:gd name="T2" fmla="*/ 134 w 272"/>
                <a:gd name="T3" fmla="*/ 0 h 132"/>
                <a:gd name="T4" fmla="*/ 0 w 272"/>
                <a:gd name="T5" fmla="*/ 105 h 132"/>
                <a:gd name="T6" fmla="*/ 0 w 272"/>
                <a:gd name="T7" fmla="*/ 132 h 132"/>
                <a:gd name="T8" fmla="*/ 272 w 272"/>
                <a:gd name="T9" fmla="*/ 132 h 132"/>
                <a:gd name="T10" fmla="*/ 272 w 272"/>
                <a:gd name="T11" fmla="*/ 105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2" h="132">
                  <a:moveTo>
                    <a:pt x="272" y="105"/>
                  </a:moveTo>
                  <a:lnTo>
                    <a:pt x="134" y="0"/>
                  </a:lnTo>
                  <a:lnTo>
                    <a:pt x="0" y="105"/>
                  </a:lnTo>
                  <a:lnTo>
                    <a:pt x="0" y="132"/>
                  </a:lnTo>
                  <a:lnTo>
                    <a:pt x="272" y="132"/>
                  </a:lnTo>
                  <a:lnTo>
                    <a:pt x="272" y="1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Rectangle 1642"/>
            <p:cNvSpPr>
              <a:spLocks noChangeArrowheads="1"/>
            </p:cNvSpPr>
            <p:nvPr/>
          </p:nvSpPr>
          <p:spPr bwMode="auto">
            <a:xfrm>
              <a:off x="4321175" y="5846762"/>
              <a:ext cx="41275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Rectangle 1643"/>
            <p:cNvSpPr>
              <a:spLocks noChangeArrowheads="1"/>
            </p:cNvSpPr>
            <p:nvPr/>
          </p:nvSpPr>
          <p:spPr bwMode="auto">
            <a:xfrm>
              <a:off x="4306888" y="5991225"/>
              <a:ext cx="69850" cy="365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Rectangle 1644"/>
            <p:cNvSpPr>
              <a:spLocks noChangeArrowheads="1"/>
            </p:cNvSpPr>
            <p:nvPr/>
          </p:nvSpPr>
          <p:spPr bwMode="auto">
            <a:xfrm>
              <a:off x="4314825" y="5846762"/>
              <a:ext cx="53975" cy="285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Rectangle 1645"/>
            <p:cNvSpPr>
              <a:spLocks noChangeArrowheads="1"/>
            </p:cNvSpPr>
            <p:nvPr/>
          </p:nvSpPr>
          <p:spPr bwMode="auto">
            <a:xfrm>
              <a:off x="4430713" y="5846762"/>
              <a:ext cx="39688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Rectangle 1646"/>
            <p:cNvSpPr>
              <a:spLocks noChangeArrowheads="1"/>
            </p:cNvSpPr>
            <p:nvPr/>
          </p:nvSpPr>
          <p:spPr bwMode="auto">
            <a:xfrm>
              <a:off x="4416425" y="5991225"/>
              <a:ext cx="68263" cy="365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Rectangle 1647"/>
            <p:cNvSpPr>
              <a:spLocks noChangeArrowheads="1"/>
            </p:cNvSpPr>
            <p:nvPr/>
          </p:nvSpPr>
          <p:spPr bwMode="auto">
            <a:xfrm>
              <a:off x="4424363" y="5846762"/>
              <a:ext cx="52388" cy="285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Rectangle 1648"/>
            <p:cNvSpPr>
              <a:spLocks noChangeArrowheads="1"/>
            </p:cNvSpPr>
            <p:nvPr/>
          </p:nvSpPr>
          <p:spPr bwMode="auto">
            <a:xfrm>
              <a:off x="4541838" y="5846762"/>
              <a:ext cx="41275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Rectangle 1649"/>
            <p:cNvSpPr>
              <a:spLocks noChangeArrowheads="1"/>
            </p:cNvSpPr>
            <p:nvPr/>
          </p:nvSpPr>
          <p:spPr bwMode="auto">
            <a:xfrm>
              <a:off x="4527550" y="5991225"/>
              <a:ext cx="69850" cy="365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Rectangle 1650"/>
            <p:cNvSpPr>
              <a:spLocks noChangeArrowheads="1"/>
            </p:cNvSpPr>
            <p:nvPr/>
          </p:nvSpPr>
          <p:spPr bwMode="auto">
            <a:xfrm>
              <a:off x="4535488" y="5846762"/>
              <a:ext cx="53975" cy="285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Rectangle 1651"/>
            <p:cNvSpPr>
              <a:spLocks noChangeArrowheads="1"/>
            </p:cNvSpPr>
            <p:nvPr/>
          </p:nvSpPr>
          <p:spPr bwMode="auto">
            <a:xfrm>
              <a:off x="4649788" y="5846762"/>
              <a:ext cx="41275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Rectangle 1652"/>
            <p:cNvSpPr>
              <a:spLocks noChangeArrowheads="1"/>
            </p:cNvSpPr>
            <p:nvPr/>
          </p:nvSpPr>
          <p:spPr bwMode="auto">
            <a:xfrm>
              <a:off x="4635500" y="5991225"/>
              <a:ext cx="69850" cy="365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Rectangle 1653"/>
            <p:cNvSpPr>
              <a:spLocks noChangeArrowheads="1"/>
            </p:cNvSpPr>
            <p:nvPr/>
          </p:nvSpPr>
          <p:spPr bwMode="auto">
            <a:xfrm>
              <a:off x="4643438" y="5846762"/>
              <a:ext cx="53975" cy="285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54"/>
            <p:cNvSpPr>
              <a:spLocks/>
            </p:cNvSpPr>
            <p:nvPr/>
          </p:nvSpPr>
          <p:spPr bwMode="auto">
            <a:xfrm>
              <a:off x="4324350" y="5678487"/>
              <a:ext cx="354013" cy="141288"/>
            </a:xfrm>
            <a:custGeom>
              <a:avLst/>
              <a:gdLst>
                <a:gd name="T0" fmla="*/ 223 w 223"/>
                <a:gd name="T1" fmla="*/ 82 h 89"/>
                <a:gd name="T2" fmla="*/ 110 w 223"/>
                <a:gd name="T3" fmla="*/ 0 h 89"/>
                <a:gd name="T4" fmla="*/ 0 w 223"/>
                <a:gd name="T5" fmla="*/ 82 h 89"/>
                <a:gd name="T6" fmla="*/ 0 w 223"/>
                <a:gd name="T7" fmla="*/ 89 h 89"/>
                <a:gd name="T8" fmla="*/ 223 w 223"/>
                <a:gd name="T9" fmla="*/ 89 h 89"/>
                <a:gd name="T10" fmla="*/ 223 w 223"/>
                <a:gd name="T11" fmla="*/ 82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3" h="89">
                  <a:moveTo>
                    <a:pt x="223" y="82"/>
                  </a:moveTo>
                  <a:lnTo>
                    <a:pt x="110" y="0"/>
                  </a:lnTo>
                  <a:lnTo>
                    <a:pt x="0" y="82"/>
                  </a:lnTo>
                  <a:lnTo>
                    <a:pt x="0" y="89"/>
                  </a:lnTo>
                  <a:lnTo>
                    <a:pt x="223" y="89"/>
                  </a:lnTo>
                  <a:lnTo>
                    <a:pt x="223" y="82"/>
                  </a:lnTo>
                  <a:close/>
                </a:path>
              </a:pathLst>
            </a:custGeom>
            <a:solidFill>
              <a:srgbClr val="EDE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Rectangle 1655"/>
            <p:cNvSpPr>
              <a:spLocks noChangeArrowheads="1"/>
            </p:cNvSpPr>
            <p:nvPr/>
          </p:nvSpPr>
          <p:spPr bwMode="auto">
            <a:xfrm>
              <a:off x="4284663" y="6054725"/>
              <a:ext cx="441325" cy="25400"/>
            </a:xfrm>
            <a:prstGeom prst="rect">
              <a:avLst/>
            </a:prstGeom>
            <a:solidFill>
              <a:srgbClr val="DCE8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0" name="Abiliti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6A4A724-934D-47D7-A8E6-0D1A14465CB9}"/>
              </a:ext>
            </a:extLst>
          </p:cNvPr>
          <p:cNvGrpSpPr>
            <a:grpSpLocks noChangeAspect="1"/>
          </p:cNvGrpSpPr>
          <p:nvPr/>
        </p:nvGrpSpPr>
        <p:grpSpPr>
          <a:xfrm>
            <a:off x="7655971" y="1580172"/>
            <a:ext cx="635001" cy="604837"/>
            <a:chOff x="6434137" y="3589338"/>
            <a:chExt cx="635001" cy="604837"/>
          </a:xfrm>
          <a:noFill/>
        </p:grpSpPr>
        <p:sp>
          <p:nvSpPr>
            <p:cNvPr id="81" name="Freeform 1688">
              <a:extLst>
                <a:ext uri="{FF2B5EF4-FFF2-40B4-BE49-F238E27FC236}">
                  <a16:creationId xmlns:a16="http://schemas.microsoft.com/office/drawing/2014/main" id="{FBD86150-1EF9-419E-AE05-51D22B4B3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7800" y="3627438"/>
              <a:ext cx="79375" cy="77788"/>
            </a:xfrm>
            <a:custGeom>
              <a:avLst/>
              <a:gdLst>
                <a:gd name="T0" fmla="*/ 5 w 70"/>
                <a:gd name="T1" fmla="*/ 70 h 70"/>
                <a:gd name="T2" fmla="*/ 0 w 70"/>
                <a:gd name="T3" fmla="*/ 0 h 70"/>
                <a:gd name="T4" fmla="*/ 70 w 70"/>
                <a:gd name="T5" fmla="*/ 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0" h="70">
                  <a:moveTo>
                    <a:pt x="5" y="70"/>
                  </a:moveTo>
                  <a:lnTo>
                    <a:pt x="0" y="0"/>
                  </a:lnTo>
                  <a:lnTo>
                    <a:pt x="70" y="6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1689">
              <a:extLst>
                <a:ext uri="{FF2B5EF4-FFF2-40B4-BE49-F238E27FC236}">
                  <a16:creationId xmlns:a16="http://schemas.microsoft.com/office/drawing/2014/main" id="{257EE6D5-4138-4E87-92D0-FAABE8800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9275" y="3997325"/>
              <a:ext cx="77788" cy="79375"/>
            </a:xfrm>
            <a:custGeom>
              <a:avLst/>
              <a:gdLst>
                <a:gd name="T0" fmla="*/ 64 w 70"/>
                <a:gd name="T1" fmla="*/ 0 h 70"/>
                <a:gd name="T2" fmla="*/ 70 w 70"/>
                <a:gd name="T3" fmla="*/ 70 h 70"/>
                <a:gd name="T4" fmla="*/ 0 w 70"/>
                <a:gd name="T5" fmla="*/ 6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0" h="70">
                  <a:moveTo>
                    <a:pt x="64" y="0"/>
                  </a:moveTo>
                  <a:lnTo>
                    <a:pt x="70" y="70"/>
                  </a:lnTo>
                  <a:lnTo>
                    <a:pt x="0" y="65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Line 1690">
              <a:extLst>
                <a:ext uri="{FF2B5EF4-FFF2-40B4-BE49-F238E27FC236}">
                  <a16:creationId xmlns:a16="http://schemas.microsoft.com/office/drawing/2014/main" id="{1084401C-EC2D-42FF-AFAA-FB1FB26D68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27801" y="3627439"/>
              <a:ext cx="90488" cy="90488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1691">
              <a:extLst>
                <a:ext uri="{FF2B5EF4-FFF2-40B4-BE49-F238E27FC236}">
                  <a16:creationId xmlns:a16="http://schemas.microsoft.com/office/drawing/2014/main" id="{DCBDF080-38BB-4237-A8BA-46E9511214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4138" y="3800475"/>
              <a:ext cx="60325" cy="103188"/>
            </a:xfrm>
            <a:custGeom>
              <a:avLst/>
              <a:gdLst>
                <a:gd name="T0" fmla="*/ 54 w 54"/>
                <a:gd name="T1" fmla="*/ 92 h 92"/>
                <a:gd name="T2" fmla="*/ 0 w 54"/>
                <a:gd name="T3" fmla="*/ 46 h 92"/>
                <a:gd name="T4" fmla="*/ 54 w 54"/>
                <a:gd name="T5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4" h="92">
                  <a:moveTo>
                    <a:pt x="54" y="92"/>
                  </a:moveTo>
                  <a:lnTo>
                    <a:pt x="0" y="46"/>
                  </a:lnTo>
                  <a:lnTo>
                    <a:pt x="54" y="0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1692">
              <a:extLst>
                <a:ext uri="{FF2B5EF4-FFF2-40B4-BE49-F238E27FC236}">
                  <a16:creationId xmlns:a16="http://schemas.microsoft.com/office/drawing/2014/main" id="{D6640366-8437-4AD8-A659-64E59A132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0" y="3800475"/>
              <a:ext cx="58738" cy="103188"/>
            </a:xfrm>
            <a:custGeom>
              <a:avLst/>
              <a:gdLst>
                <a:gd name="T0" fmla="*/ 0 w 53"/>
                <a:gd name="T1" fmla="*/ 0 h 92"/>
                <a:gd name="T2" fmla="*/ 53 w 53"/>
                <a:gd name="T3" fmla="*/ 46 h 92"/>
                <a:gd name="T4" fmla="*/ 0 w 53"/>
                <a:gd name="T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3" h="92">
                  <a:moveTo>
                    <a:pt x="0" y="0"/>
                  </a:moveTo>
                  <a:lnTo>
                    <a:pt x="53" y="46"/>
                  </a:lnTo>
                  <a:lnTo>
                    <a:pt x="0" y="92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Line 1693">
              <a:extLst>
                <a:ext uri="{FF2B5EF4-FFF2-40B4-BE49-F238E27FC236}">
                  <a16:creationId xmlns:a16="http://schemas.microsoft.com/office/drawing/2014/main" id="{F024C0E1-33F7-4D1A-B5D3-5640B8DD035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912769" y="3851275"/>
              <a:ext cx="154800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1694">
              <a:extLst>
                <a:ext uri="{FF2B5EF4-FFF2-40B4-BE49-F238E27FC236}">
                  <a16:creationId xmlns:a16="http://schemas.microsoft.com/office/drawing/2014/main" id="{FCDB22EB-71C8-4A88-8AD4-1E82454B2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7800" y="3997325"/>
              <a:ext cx="79375" cy="79375"/>
            </a:xfrm>
            <a:custGeom>
              <a:avLst/>
              <a:gdLst>
                <a:gd name="T0" fmla="*/ 70 w 70"/>
                <a:gd name="T1" fmla="*/ 65 h 70"/>
                <a:gd name="T2" fmla="*/ 0 w 70"/>
                <a:gd name="T3" fmla="*/ 70 h 70"/>
                <a:gd name="T4" fmla="*/ 5 w 70"/>
                <a:gd name="T5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0" h="70">
                  <a:moveTo>
                    <a:pt x="70" y="65"/>
                  </a:moveTo>
                  <a:lnTo>
                    <a:pt x="0" y="70"/>
                  </a:lnTo>
                  <a:lnTo>
                    <a:pt x="5" y="0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1695">
              <a:extLst>
                <a:ext uri="{FF2B5EF4-FFF2-40B4-BE49-F238E27FC236}">
                  <a16:creationId xmlns:a16="http://schemas.microsoft.com/office/drawing/2014/main" id="{6195D306-A10B-427A-803C-EF9AA3EFA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9275" y="3627438"/>
              <a:ext cx="77788" cy="77788"/>
            </a:xfrm>
            <a:custGeom>
              <a:avLst/>
              <a:gdLst>
                <a:gd name="T0" fmla="*/ 0 w 70"/>
                <a:gd name="T1" fmla="*/ 6 h 70"/>
                <a:gd name="T2" fmla="*/ 70 w 70"/>
                <a:gd name="T3" fmla="*/ 0 h 70"/>
                <a:gd name="T4" fmla="*/ 64 w 70"/>
                <a:gd name="T5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0" h="70">
                  <a:moveTo>
                    <a:pt x="0" y="6"/>
                  </a:moveTo>
                  <a:lnTo>
                    <a:pt x="70" y="0"/>
                  </a:lnTo>
                  <a:lnTo>
                    <a:pt x="64" y="70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Line 1696">
              <a:extLst>
                <a:ext uri="{FF2B5EF4-FFF2-40B4-BE49-F238E27FC236}">
                  <a16:creationId xmlns:a16="http://schemas.microsoft.com/office/drawing/2014/main" id="{B06115AA-DEA4-4367-9558-9B2AFC68B5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89751" y="3627438"/>
              <a:ext cx="87312" cy="87312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Oval 1697">
              <a:extLst>
                <a:ext uri="{FF2B5EF4-FFF2-40B4-BE49-F238E27FC236}">
                  <a16:creationId xmlns:a16="http://schemas.microsoft.com/office/drawing/2014/main" id="{1F5CEA58-0B94-43DD-8A9B-5D62EAFD25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02425" y="3589338"/>
              <a:ext cx="98425" cy="100013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 1700">
              <a:extLst>
                <a:ext uri="{FF2B5EF4-FFF2-40B4-BE49-F238E27FC236}">
                  <a16:creationId xmlns:a16="http://schemas.microsoft.com/office/drawing/2014/main" id="{B62FA883-F5AF-403B-9EFD-29B965B13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4638" y="3730625"/>
              <a:ext cx="255588" cy="463550"/>
            </a:xfrm>
            <a:custGeom>
              <a:avLst/>
              <a:gdLst>
                <a:gd name="T0" fmla="*/ 229 w 229"/>
                <a:gd name="T1" fmla="*/ 50 h 416"/>
                <a:gd name="T2" fmla="*/ 219 w 229"/>
                <a:gd name="T3" fmla="*/ 187 h 416"/>
                <a:gd name="T4" fmla="*/ 178 w 229"/>
                <a:gd name="T5" fmla="*/ 220 h 416"/>
                <a:gd name="T6" fmla="*/ 176 w 229"/>
                <a:gd name="T7" fmla="*/ 220 h 416"/>
                <a:gd name="T8" fmla="*/ 162 w 229"/>
                <a:gd name="T9" fmla="*/ 403 h 416"/>
                <a:gd name="T10" fmla="*/ 149 w 229"/>
                <a:gd name="T11" fmla="*/ 416 h 416"/>
                <a:gd name="T12" fmla="*/ 81 w 229"/>
                <a:gd name="T13" fmla="*/ 416 h 416"/>
                <a:gd name="T14" fmla="*/ 67 w 229"/>
                <a:gd name="T15" fmla="*/ 403 h 416"/>
                <a:gd name="T16" fmla="*/ 54 w 229"/>
                <a:gd name="T17" fmla="*/ 220 h 416"/>
                <a:gd name="T18" fmla="*/ 51 w 229"/>
                <a:gd name="T19" fmla="*/ 220 h 416"/>
                <a:gd name="T20" fmla="*/ 10 w 229"/>
                <a:gd name="T21" fmla="*/ 187 h 416"/>
                <a:gd name="T22" fmla="*/ 0 w 229"/>
                <a:gd name="T23" fmla="*/ 52 h 416"/>
                <a:gd name="T24" fmla="*/ 0 w 229"/>
                <a:gd name="T25" fmla="*/ 50 h 416"/>
                <a:gd name="T26" fmla="*/ 47 w 229"/>
                <a:gd name="T27" fmla="*/ 0 h 416"/>
                <a:gd name="T28" fmla="*/ 182 w 229"/>
                <a:gd name="T29" fmla="*/ 0 h 416"/>
                <a:gd name="T30" fmla="*/ 229 w 229"/>
                <a:gd name="T31" fmla="*/ 5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9" h="416">
                  <a:moveTo>
                    <a:pt x="229" y="50"/>
                  </a:moveTo>
                  <a:lnTo>
                    <a:pt x="219" y="187"/>
                  </a:lnTo>
                  <a:cubicBezTo>
                    <a:pt x="218" y="203"/>
                    <a:pt x="196" y="217"/>
                    <a:pt x="178" y="220"/>
                  </a:cubicBezTo>
                  <a:cubicBezTo>
                    <a:pt x="177" y="220"/>
                    <a:pt x="177" y="220"/>
                    <a:pt x="176" y="220"/>
                  </a:cubicBezTo>
                  <a:lnTo>
                    <a:pt x="162" y="403"/>
                  </a:lnTo>
                  <a:cubicBezTo>
                    <a:pt x="162" y="410"/>
                    <a:pt x="156" y="416"/>
                    <a:pt x="149" y="416"/>
                  </a:cubicBezTo>
                  <a:lnTo>
                    <a:pt x="81" y="416"/>
                  </a:lnTo>
                  <a:cubicBezTo>
                    <a:pt x="74" y="416"/>
                    <a:pt x="68" y="410"/>
                    <a:pt x="67" y="403"/>
                  </a:cubicBezTo>
                  <a:lnTo>
                    <a:pt x="54" y="220"/>
                  </a:lnTo>
                  <a:cubicBezTo>
                    <a:pt x="53" y="220"/>
                    <a:pt x="52" y="220"/>
                    <a:pt x="51" y="220"/>
                  </a:cubicBezTo>
                  <a:cubicBezTo>
                    <a:pt x="34" y="217"/>
                    <a:pt x="12" y="203"/>
                    <a:pt x="10" y="187"/>
                  </a:cubicBezTo>
                  <a:lnTo>
                    <a:pt x="0" y="52"/>
                  </a:lnTo>
                  <a:cubicBezTo>
                    <a:pt x="0" y="51"/>
                    <a:pt x="0" y="50"/>
                    <a:pt x="0" y="50"/>
                  </a:cubicBezTo>
                  <a:cubicBezTo>
                    <a:pt x="0" y="23"/>
                    <a:pt x="21" y="1"/>
                    <a:pt x="47" y="0"/>
                  </a:cubicBezTo>
                  <a:lnTo>
                    <a:pt x="182" y="0"/>
                  </a:lnTo>
                  <a:cubicBezTo>
                    <a:pt x="208" y="1"/>
                    <a:pt x="229" y="23"/>
                    <a:pt x="229" y="50"/>
                  </a:cubicBezTo>
                  <a:close/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Line 1701">
              <a:extLst>
                <a:ext uri="{FF2B5EF4-FFF2-40B4-BE49-F238E27FC236}">
                  <a16:creationId xmlns:a16="http://schemas.microsoft.com/office/drawing/2014/main" id="{350DC0A7-2883-4E7C-8DAB-E4F0104DC4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753225" y="3960813"/>
              <a:ext cx="0" cy="227013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Line 1702">
              <a:extLst>
                <a:ext uri="{FF2B5EF4-FFF2-40B4-BE49-F238E27FC236}">
                  <a16:creationId xmlns:a16="http://schemas.microsoft.com/office/drawing/2014/main" id="{3C26459F-80DC-494E-9C1B-C7566EF1621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672263" y="3805238"/>
              <a:ext cx="12700" cy="169863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Line 1703">
              <a:extLst>
                <a:ext uri="{FF2B5EF4-FFF2-40B4-BE49-F238E27FC236}">
                  <a16:creationId xmlns:a16="http://schemas.microsoft.com/office/drawing/2014/main" id="{235C6716-1CBD-43B9-B1F7-26F2E42125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819900" y="3805238"/>
              <a:ext cx="12700" cy="169863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Line 1693">
              <a:extLst>
                <a:ext uri="{FF2B5EF4-FFF2-40B4-BE49-F238E27FC236}">
                  <a16:creationId xmlns:a16="http://schemas.microsoft.com/office/drawing/2014/main" id="{A8DDB2F8-D7E5-4DB6-9A2D-57E7564548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434137" y="3851275"/>
              <a:ext cx="153987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Line 1690">
              <a:extLst>
                <a:ext uri="{FF2B5EF4-FFF2-40B4-BE49-F238E27FC236}">
                  <a16:creationId xmlns:a16="http://schemas.microsoft.com/office/drawing/2014/main" id="{A2849CE9-801A-4656-9E23-2B64A4E03A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83400" y="3983038"/>
              <a:ext cx="93663" cy="93663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Line 1696">
              <a:extLst>
                <a:ext uri="{FF2B5EF4-FFF2-40B4-BE49-F238E27FC236}">
                  <a16:creationId xmlns:a16="http://schemas.microsoft.com/office/drawing/2014/main" id="{1C6302CE-D7EE-465F-920F-83E770DF7F3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527800" y="3983037"/>
              <a:ext cx="93663" cy="93663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2228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1257998" y="211618"/>
            <a:ext cx="10134886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3200" b="1" i="1" dirty="0"/>
              <a:t> </a:t>
            </a:r>
            <a:r>
              <a:rPr lang="kk-KZ" sz="3200" b="1" i="1" dirty="0">
                <a:solidFill>
                  <a:srgbClr val="7030A0"/>
                </a:solidFill>
              </a:rPr>
              <a:t> </a:t>
            </a:r>
            <a:r>
              <a:rPr lang="kk-KZ" sz="3200" b="1" i="1" dirty="0">
                <a:solidFill>
                  <a:srgbClr val="00B0F0"/>
                </a:solidFill>
              </a:rPr>
              <a:t>Обеспечение активного участия студентов в органах студенческого самоуправления </a:t>
            </a:r>
            <a:endParaRPr lang="ru-RU" sz="3200" b="1" i="1" dirty="0">
              <a:solidFill>
                <a:srgbClr val="00B0F0"/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248688" y="1473161"/>
            <a:ext cx="10242154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Aft>
                <a:spcPts val="0"/>
              </a:spcAft>
            </a:pPr>
            <a:r>
              <a:rPr lang="kk-KZ" sz="2000" b="1" i="1" dirty="0">
                <a:solidFill>
                  <a:srgbClr val="FFC000"/>
                </a:solidFill>
                <a:effectLst/>
                <a:ea typeface="Times New Roman" panose="02020603050405020304" pitchFamily="18" charset="0"/>
              </a:rPr>
              <a:t>УСПЕХИ СТУДЕНТОВ: </a:t>
            </a:r>
          </a:p>
          <a:p>
            <a:pPr algn="just" fontAlgn="base">
              <a:spcAft>
                <a:spcPts val="0"/>
              </a:spcAft>
            </a:pPr>
            <a:r>
              <a:rPr lang="kk-KZ" sz="2000" b="1" dirty="0">
                <a:solidFill>
                  <a:srgbClr val="FFC000"/>
                </a:solidFill>
              </a:rPr>
              <a:t>Количество наград за достижения в культурных, общественных, спортивных мероприятиях: </a:t>
            </a:r>
            <a:r>
              <a:rPr lang="kk-KZ" sz="2000" b="1" i="1" dirty="0">
                <a:solidFill>
                  <a:srgbClr val="FFC000"/>
                </a:solidFill>
                <a:effectLst/>
                <a:ea typeface="Times New Roman" panose="02020603050405020304" pitchFamily="18" charset="0"/>
              </a:rPr>
              <a:t> </a:t>
            </a:r>
            <a:endParaRPr lang="ru-RU" sz="2000" b="1" i="1" dirty="0">
              <a:solidFill>
                <a:srgbClr val="FFC000"/>
              </a:solidFill>
              <a:effectLst/>
              <a:ea typeface="Times New Roman" panose="02020603050405020304" pitchFamily="18" charset="0"/>
            </a:endParaRPr>
          </a:p>
          <a:p>
            <a:pPr marL="342900" lvl="0" indent="-342900" algn="just"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FFC000"/>
                </a:solidFill>
              </a:rPr>
              <a:t>д</a:t>
            </a:r>
            <a:r>
              <a:rPr lang="kk-KZ" sz="2000" b="1" dirty="0">
                <a:solidFill>
                  <a:srgbClr val="FFC000"/>
                </a:solidFill>
              </a:rPr>
              <a:t>ипломы международных олимпиад, конференций, конкурсов по направлениям медицины – </a:t>
            </a:r>
            <a:r>
              <a:rPr lang="kk-KZ" sz="2000" b="1" dirty="0">
                <a:solidFill>
                  <a:srgbClr val="C00000"/>
                </a:solidFill>
              </a:rPr>
              <a:t>73</a:t>
            </a:r>
            <a:r>
              <a:rPr lang="kk-KZ" sz="2000" b="1" dirty="0">
                <a:solidFill>
                  <a:srgbClr val="FFC000"/>
                </a:solidFill>
              </a:rPr>
              <a:t> места (школа стоматологии – 23 места, школа общей медицины 1, 2 - 24 места, интернатура и резидентура – 17 мест, магистратура и докторантура -1 место, фармация – 2 места, факультет международной медицины – 4 места, общественное здравоохранение -2 места); </a:t>
            </a:r>
            <a:endParaRPr lang="ru-RU" sz="2000" b="1" dirty="0">
              <a:solidFill>
                <a:srgbClr val="FFC000"/>
              </a:solidFill>
            </a:endParaRPr>
          </a:p>
          <a:p>
            <a:pPr marL="342900" lvl="0" indent="-342900" algn="just">
              <a:buFont typeface="Wingdings" panose="05000000000000000000" pitchFamily="2" charset="2"/>
              <a:buChar char="ü"/>
            </a:pPr>
            <a:r>
              <a:rPr lang="kk-KZ" sz="2000" b="1" dirty="0">
                <a:solidFill>
                  <a:srgbClr val="FFC000"/>
                </a:solidFill>
              </a:rPr>
              <a:t>«Лучший студент РК» - </a:t>
            </a:r>
            <a:r>
              <a:rPr lang="kk-KZ" sz="2000" b="1" dirty="0">
                <a:solidFill>
                  <a:srgbClr val="C00000"/>
                </a:solidFill>
              </a:rPr>
              <a:t>5</a:t>
            </a:r>
            <a:r>
              <a:rPr lang="kk-KZ" sz="2000" b="1" dirty="0">
                <a:solidFill>
                  <a:srgbClr val="FFC000"/>
                </a:solidFill>
              </a:rPr>
              <a:t> человек;</a:t>
            </a:r>
            <a:endParaRPr lang="ru-RU" sz="2000" b="1" dirty="0">
              <a:solidFill>
                <a:srgbClr val="FFC000"/>
              </a:solidFill>
            </a:endParaRPr>
          </a:p>
          <a:p>
            <a:pPr marL="342900" lvl="0" indent="-342900" algn="just">
              <a:buFont typeface="Wingdings" panose="05000000000000000000" pitchFamily="2" charset="2"/>
              <a:buChar char="ü"/>
            </a:pPr>
            <a:r>
              <a:rPr lang="kk-KZ" sz="2000" b="1" dirty="0">
                <a:solidFill>
                  <a:srgbClr val="FFC000"/>
                </a:solidFill>
              </a:rPr>
              <a:t>Интеллектуальная программа </a:t>
            </a:r>
            <a:r>
              <a:rPr lang="en-US" sz="2000" b="1" dirty="0">
                <a:solidFill>
                  <a:srgbClr val="FFC000"/>
                </a:solidFill>
              </a:rPr>
              <a:t>IQ Almaty</a:t>
            </a:r>
            <a:r>
              <a:rPr lang="ru-RU" sz="2000" b="1" dirty="0">
                <a:solidFill>
                  <a:srgbClr val="FFC000"/>
                </a:solidFill>
              </a:rPr>
              <a:t>  -  </a:t>
            </a:r>
            <a:r>
              <a:rPr lang="ru-RU" sz="2000" b="1" dirty="0">
                <a:solidFill>
                  <a:srgbClr val="C00000"/>
                </a:solidFill>
              </a:rPr>
              <a:t>2</a:t>
            </a:r>
            <a:r>
              <a:rPr lang="ru-RU" sz="2000" b="1" dirty="0">
                <a:solidFill>
                  <a:srgbClr val="FFC000"/>
                </a:solidFill>
              </a:rPr>
              <a:t> призовых места</a:t>
            </a:r>
            <a:r>
              <a:rPr lang="kk-KZ" sz="2000" b="1" dirty="0">
                <a:solidFill>
                  <a:srgbClr val="FFC000"/>
                </a:solidFill>
              </a:rPr>
              <a:t> (2020, 2021 г); </a:t>
            </a:r>
            <a:endParaRPr lang="ru-RU" sz="2000" b="1" dirty="0">
              <a:solidFill>
                <a:srgbClr val="FFC000"/>
              </a:solidFill>
            </a:endParaRPr>
          </a:p>
          <a:p>
            <a:pPr marL="342900" lvl="0" indent="-342900" algn="just">
              <a:buFont typeface="Wingdings" panose="05000000000000000000" pitchFamily="2" charset="2"/>
              <a:buChar char="ü"/>
            </a:pPr>
            <a:r>
              <a:rPr lang="kk-KZ" sz="2000" b="1" dirty="0">
                <a:solidFill>
                  <a:srgbClr val="FFC000"/>
                </a:solidFill>
              </a:rPr>
              <a:t>Қазақстанның алтын жастары сыйлығы –</a:t>
            </a:r>
            <a:r>
              <a:rPr lang="kk-KZ" sz="2000" b="1" dirty="0">
                <a:solidFill>
                  <a:srgbClr val="C00000"/>
                </a:solidFill>
              </a:rPr>
              <a:t> 1 </a:t>
            </a:r>
            <a:r>
              <a:rPr lang="kk-KZ" sz="2000" b="1" dirty="0">
                <a:solidFill>
                  <a:srgbClr val="FFC000"/>
                </a:solidFill>
              </a:rPr>
              <a:t>человек; </a:t>
            </a:r>
            <a:endParaRPr lang="ru-RU" sz="2000" b="1" dirty="0">
              <a:solidFill>
                <a:srgbClr val="FFC000"/>
              </a:solidFill>
            </a:endParaRPr>
          </a:p>
          <a:p>
            <a:pPr marL="342900" lvl="0" indent="-342900" algn="just">
              <a:buFont typeface="Wingdings" panose="05000000000000000000" pitchFamily="2" charset="2"/>
              <a:buChar char="ü"/>
            </a:pPr>
            <a:r>
              <a:rPr lang="kk-KZ" sz="2000" b="1" dirty="0">
                <a:solidFill>
                  <a:srgbClr val="FFC000"/>
                </a:solidFill>
              </a:rPr>
              <a:t>Медаль «Халық алғысы» -</a:t>
            </a:r>
            <a:r>
              <a:rPr lang="kk-KZ" sz="2000" b="1" dirty="0">
                <a:solidFill>
                  <a:srgbClr val="C00000"/>
                </a:solidFill>
              </a:rPr>
              <a:t> 4 </a:t>
            </a:r>
            <a:r>
              <a:rPr lang="kk-KZ" sz="2000" b="1" dirty="0">
                <a:solidFill>
                  <a:srgbClr val="FFC000"/>
                </a:solidFill>
              </a:rPr>
              <a:t>человека;</a:t>
            </a:r>
            <a:endParaRPr lang="ru-RU" sz="2000" b="1" dirty="0">
              <a:solidFill>
                <a:srgbClr val="FFC000"/>
              </a:solidFill>
            </a:endParaRPr>
          </a:p>
          <a:p>
            <a:pPr marL="342900" lvl="0" indent="-342900" algn="just">
              <a:buFont typeface="Wingdings" panose="05000000000000000000" pitchFamily="2" charset="2"/>
              <a:buChar char="ü"/>
            </a:pPr>
            <a:r>
              <a:rPr lang="kk-KZ" sz="2000" b="1" dirty="0">
                <a:solidFill>
                  <a:srgbClr val="FFC000"/>
                </a:solidFill>
              </a:rPr>
              <a:t>Медаль «25 лет Ассамблеи Народа Казахстана» - </a:t>
            </a:r>
            <a:r>
              <a:rPr lang="kk-KZ" sz="2000" b="1" dirty="0">
                <a:solidFill>
                  <a:srgbClr val="C00000"/>
                </a:solidFill>
              </a:rPr>
              <a:t>2</a:t>
            </a:r>
            <a:r>
              <a:rPr lang="kk-KZ" sz="2000" b="1" dirty="0">
                <a:solidFill>
                  <a:srgbClr val="FFC000"/>
                </a:solidFill>
              </a:rPr>
              <a:t> человека;</a:t>
            </a:r>
            <a:endParaRPr lang="ru-RU" sz="2000" b="1" dirty="0">
              <a:solidFill>
                <a:srgbClr val="FFC000"/>
              </a:solidFill>
            </a:endParaRPr>
          </a:p>
          <a:p>
            <a:pPr marL="342900" lvl="0" indent="-342900" algn="just">
              <a:buFont typeface="Wingdings" panose="05000000000000000000" pitchFamily="2" charset="2"/>
              <a:buChar char="ü"/>
            </a:pPr>
            <a:r>
              <a:rPr lang="kk-KZ" sz="2000" b="1" dirty="0">
                <a:solidFill>
                  <a:srgbClr val="FFC000"/>
                </a:solidFill>
              </a:rPr>
              <a:t>Благодарственные письма председателя партии «Нур Отан», Первого Президента Республики Казахстан Елбасы Н.А.Назарбаева – </a:t>
            </a:r>
            <a:r>
              <a:rPr lang="kk-KZ" sz="2000" b="1" dirty="0">
                <a:solidFill>
                  <a:srgbClr val="C00000"/>
                </a:solidFill>
              </a:rPr>
              <a:t>4</a:t>
            </a:r>
            <a:r>
              <a:rPr lang="kk-KZ" sz="2000" b="1" dirty="0">
                <a:solidFill>
                  <a:srgbClr val="FFC000"/>
                </a:solidFill>
              </a:rPr>
              <a:t> человека; </a:t>
            </a:r>
            <a:endParaRPr lang="ru-RU" sz="2000" b="1" dirty="0">
              <a:solidFill>
                <a:srgbClr val="FFC000"/>
              </a:solidFill>
            </a:endParaRPr>
          </a:p>
          <a:p>
            <a:pPr marL="342900" lvl="0" indent="-342900" algn="just">
              <a:buFont typeface="Wingdings" panose="05000000000000000000" pitchFamily="2" charset="2"/>
              <a:buChar char="ü"/>
            </a:pPr>
            <a:r>
              <a:rPr lang="kk-KZ" sz="2000" b="1" dirty="0">
                <a:solidFill>
                  <a:srgbClr val="FFC000"/>
                </a:solidFill>
              </a:rPr>
              <a:t>по  республиканским спортивным соревнованиям – </a:t>
            </a:r>
            <a:r>
              <a:rPr lang="kk-KZ" sz="2000" b="1" dirty="0">
                <a:solidFill>
                  <a:srgbClr val="C00000"/>
                </a:solidFill>
              </a:rPr>
              <a:t>1</a:t>
            </a:r>
            <a:r>
              <a:rPr lang="kk-KZ" sz="2000" b="1" dirty="0">
                <a:solidFill>
                  <a:srgbClr val="FFC000"/>
                </a:solidFill>
              </a:rPr>
              <a:t> человек, по международным спортивным соревнованиям – </a:t>
            </a:r>
            <a:r>
              <a:rPr lang="kk-KZ" sz="2000" b="1" dirty="0">
                <a:solidFill>
                  <a:srgbClr val="C00000"/>
                </a:solidFill>
              </a:rPr>
              <a:t>1</a:t>
            </a:r>
            <a:r>
              <a:rPr lang="kk-KZ" sz="2000" b="1" dirty="0">
                <a:solidFill>
                  <a:srgbClr val="FFC000"/>
                </a:solidFill>
              </a:rPr>
              <a:t> человек;</a:t>
            </a:r>
            <a:endParaRPr lang="ru-RU" sz="2000" b="1" dirty="0">
              <a:solidFill>
                <a:srgbClr val="FFC000"/>
              </a:solidFill>
            </a:endParaRPr>
          </a:p>
        </p:txBody>
      </p:sp>
      <p:grpSp>
        <p:nvGrpSpPr>
          <p:cNvPr id="33" name="Trophy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529325" y="4836304"/>
            <a:ext cx="1512443" cy="1505662"/>
            <a:chOff x="2320925" y="6032501"/>
            <a:chExt cx="354013" cy="352425"/>
          </a:xfrm>
        </p:grpSpPr>
        <p:sp>
          <p:nvSpPr>
            <p:cNvPr id="34" name="Oval 800"/>
            <p:cNvSpPr>
              <a:spLocks noChangeArrowheads="1"/>
            </p:cNvSpPr>
            <p:nvPr/>
          </p:nvSpPr>
          <p:spPr bwMode="auto">
            <a:xfrm>
              <a:off x="2320925" y="6032501"/>
              <a:ext cx="354013" cy="352425"/>
            </a:xfrm>
            <a:prstGeom prst="ellipse">
              <a:avLst/>
            </a:prstGeom>
            <a:solidFill>
              <a:srgbClr val="C847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801"/>
            <p:cNvSpPr>
              <a:spLocks/>
            </p:cNvSpPr>
            <p:nvPr/>
          </p:nvSpPr>
          <p:spPr bwMode="auto">
            <a:xfrm>
              <a:off x="2409825" y="6308726"/>
              <a:ext cx="176213" cy="22225"/>
            </a:xfrm>
            <a:custGeom>
              <a:avLst/>
              <a:gdLst>
                <a:gd name="T0" fmla="*/ 500 w 534"/>
                <a:gd name="T1" fmla="*/ 67 h 67"/>
                <a:gd name="T2" fmla="*/ 34 w 534"/>
                <a:gd name="T3" fmla="*/ 67 h 67"/>
                <a:gd name="T4" fmla="*/ 0 w 534"/>
                <a:gd name="T5" fmla="*/ 34 h 67"/>
                <a:gd name="T6" fmla="*/ 34 w 534"/>
                <a:gd name="T7" fmla="*/ 0 h 67"/>
                <a:gd name="T8" fmla="*/ 74 w 534"/>
                <a:gd name="T9" fmla="*/ 0 h 67"/>
                <a:gd name="T10" fmla="*/ 72 w 534"/>
                <a:gd name="T11" fmla="*/ 4 h 67"/>
                <a:gd name="T12" fmla="*/ 462 w 534"/>
                <a:gd name="T13" fmla="*/ 4 h 67"/>
                <a:gd name="T14" fmla="*/ 461 w 534"/>
                <a:gd name="T15" fmla="*/ 0 h 67"/>
                <a:gd name="T16" fmla="*/ 500 w 534"/>
                <a:gd name="T17" fmla="*/ 0 h 67"/>
                <a:gd name="T18" fmla="*/ 534 w 534"/>
                <a:gd name="T19" fmla="*/ 34 h 67"/>
                <a:gd name="T20" fmla="*/ 500 w 534"/>
                <a:gd name="T21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4" h="67">
                  <a:moveTo>
                    <a:pt x="500" y="67"/>
                  </a:moveTo>
                  <a:lnTo>
                    <a:pt x="34" y="67"/>
                  </a:lnTo>
                  <a:cubicBezTo>
                    <a:pt x="15" y="67"/>
                    <a:pt x="0" y="52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lnTo>
                    <a:pt x="74" y="0"/>
                  </a:lnTo>
                  <a:cubicBezTo>
                    <a:pt x="73" y="2"/>
                    <a:pt x="72" y="3"/>
                    <a:pt x="72" y="4"/>
                  </a:cubicBezTo>
                  <a:lnTo>
                    <a:pt x="462" y="4"/>
                  </a:lnTo>
                  <a:cubicBezTo>
                    <a:pt x="462" y="3"/>
                    <a:pt x="461" y="2"/>
                    <a:pt x="461" y="0"/>
                  </a:cubicBezTo>
                  <a:lnTo>
                    <a:pt x="500" y="0"/>
                  </a:lnTo>
                  <a:cubicBezTo>
                    <a:pt x="519" y="0"/>
                    <a:pt x="534" y="15"/>
                    <a:pt x="534" y="34"/>
                  </a:cubicBezTo>
                  <a:cubicBezTo>
                    <a:pt x="534" y="52"/>
                    <a:pt x="519" y="67"/>
                    <a:pt x="500" y="67"/>
                  </a:cubicBez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802"/>
            <p:cNvSpPr>
              <a:spLocks/>
            </p:cNvSpPr>
            <p:nvPr/>
          </p:nvSpPr>
          <p:spPr bwMode="auto">
            <a:xfrm>
              <a:off x="2476500" y="6208713"/>
              <a:ext cx="44450" cy="88900"/>
            </a:xfrm>
            <a:custGeom>
              <a:avLst/>
              <a:gdLst>
                <a:gd name="T0" fmla="*/ 134 w 134"/>
                <a:gd name="T1" fmla="*/ 217 h 267"/>
                <a:gd name="T2" fmla="*/ 84 w 134"/>
                <a:gd name="T3" fmla="*/ 267 h 267"/>
                <a:gd name="T4" fmla="*/ 50 w 134"/>
                <a:gd name="T5" fmla="*/ 267 h 267"/>
                <a:gd name="T6" fmla="*/ 0 w 134"/>
                <a:gd name="T7" fmla="*/ 217 h 267"/>
                <a:gd name="T8" fmla="*/ 0 w 134"/>
                <a:gd name="T9" fmla="*/ 50 h 267"/>
                <a:gd name="T10" fmla="*/ 50 w 134"/>
                <a:gd name="T11" fmla="*/ 0 h 267"/>
                <a:gd name="T12" fmla="*/ 84 w 134"/>
                <a:gd name="T13" fmla="*/ 0 h 267"/>
                <a:gd name="T14" fmla="*/ 134 w 134"/>
                <a:gd name="T15" fmla="*/ 50 h 267"/>
                <a:gd name="T16" fmla="*/ 134 w 134"/>
                <a:gd name="T17" fmla="*/ 21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" h="267">
                  <a:moveTo>
                    <a:pt x="134" y="217"/>
                  </a:moveTo>
                  <a:cubicBezTo>
                    <a:pt x="134" y="245"/>
                    <a:pt x="111" y="267"/>
                    <a:pt x="84" y="267"/>
                  </a:cubicBezTo>
                  <a:lnTo>
                    <a:pt x="50" y="267"/>
                  </a:lnTo>
                  <a:cubicBezTo>
                    <a:pt x="23" y="267"/>
                    <a:pt x="0" y="245"/>
                    <a:pt x="0" y="217"/>
                  </a:cubicBezTo>
                  <a:lnTo>
                    <a:pt x="0" y="50"/>
                  </a:lnTo>
                  <a:cubicBezTo>
                    <a:pt x="0" y="23"/>
                    <a:pt x="23" y="0"/>
                    <a:pt x="50" y="0"/>
                  </a:cubicBezTo>
                  <a:lnTo>
                    <a:pt x="84" y="0"/>
                  </a:lnTo>
                  <a:cubicBezTo>
                    <a:pt x="111" y="0"/>
                    <a:pt x="134" y="23"/>
                    <a:pt x="134" y="50"/>
                  </a:cubicBezTo>
                  <a:lnTo>
                    <a:pt x="134" y="217"/>
                  </a:lnTo>
                  <a:close/>
                </a:path>
              </a:pathLst>
            </a:custGeom>
            <a:solidFill>
              <a:srgbClr val="E08E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803"/>
            <p:cNvSpPr>
              <a:spLocks noEditPoints="1"/>
            </p:cNvSpPr>
            <p:nvPr/>
          </p:nvSpPr>
          <p:spPr bwMode="auto">
            <a:xfrm>
              <a:off x="2387600" y="6126163"/>
              <a:ext cx="220663" cy="93663"/>
            </a:xfrm>
            <a:custGeom>
              <a:avLst/>
              <a:gdLst>
                <a:gd name="T0" fmla="*/ 483 w 666"/>
                <a:gd name="T1" fmla="*/ 285 h 285"/>
                <a:gd name="T2" fmla="*/ 455 w 666"/>
                <a:gd name="T3" fmla="*/ 270 h 285"/>
                <a:gd name="T4" fmla="*/ 474 w 666"/>
                <a:gd name="T5" fmla="*/ 250 h 285"/>
                <a:gd name="T6" fmla="*/ 483 w 666"/>
                <a:gd name="T7" fmla="*/ 251 h 285"/>
                <a:gd name="T8" fmla="*/ 666 w 666"/>
                <a:gd name="T9" fmla="*/ 50 h 285"/>
                <a:gd name="T10" fmla="*/ 666 w 666"/>
                <a:gd name="T11" fmla="*/ 69 h 285"/>
                <a:gd name="T12" fmla="*/ 483 w 666"/>
                <a:gd name="T13" fmla="*/ 285 h 285"/>
                <a:gd name="T14" fmla="*/ 183 w 666"/>
                <a:gd name="T15" fmla="*/ 285 h 285"/>
                <a:gd name="T16" fmla="*/ 0 w 666"/>
                <a:gd name="T17" fmla="*/ 69 h 285"/>
                <a:gd name="T18" fmla="*/ 0 w 666"/>
                <a:gd name="T19" fmla="*/ 50 h 285"/>
                <a:gd name="T20" fmla="*/ 183 w 666"/>
                <a:gd name="T21" fmla="*/ 251 h 285"/>
                <a:gd name="T22" fmla="*/ 192 w 666"/>
                <a:gd name="T23" fmla="*/ 250 h 285"/>
                <a:gd name="T24" fmla="*/ 211 w 666"/>
                <a:gd name="T25" fmla="*/ 270 h 285"/>
                <a:gd name="T26" fmla="*/ 183 w 666"/>
                <a:gd name="T27" fmla="*/ 285 h 285"/>
                <a:gd name="T28" fmla="*/ 67 w 666"/>
                <a:gd name="T29" fmla="*/ 46 h 285"/>
                <a:gd name="T30" fmla="*/ 66 w 666"/>
                <a:gd name="T31" fmla="*/ 36 h 285"/>
                <a:gd name="T32" fmla="*/ 70 w 666"/>
                <a:gd name="T33" fmla="*/ 0 h 285"/>
                <a:gd name="T34" fmla="*/ 100 w 666"/>
                <a:gd name="T35" fmla="*/ 18 h 285"/>
                <a:gd name="T36" fmla="*/ 108 w 666"/>
                <a:gd name="T37" fmla="*/ 18 h 285"/>
                <a:gd name="T38" fmla="*/ 108 w 666"/>
                <a:gd name="T39" fmla="*/ 18 h 285"/>
                <a:gd name="T40" fmla="*/ 67 w 666"/>
                <a:gd name="T41" fmla="*/ 46 h 285"/>
                <a:gd name="T42" fmla="*/ 599 w 666"/>
                <a:gd name="T43" fmla="*/ 46 h 285"/>
                <a:gd name="T44" fmla="*/ 558 w 666"/>
                <a:gd name="T45" fmla="*/ 18 h 285"/>
                <a:gd name="T46" fmla="*/ 558 w 666"/>
                <a:gd name="T47" fmla="*/ 18 h 285"/>
                <a:gd name="T48" fmla="*/ 566 w 666"/>
                <a:gd name="T49" fmla="*/ 18 h 285"/>
                <a:gd name="T50" fmla="*/ 596 w 666"/>
                <a:gd name="T51" fmla="*/ 0 h 285"/>
                <a:gd name="T52" fmla="*/ 600 w 666"/>
                <a:gd name="T53" fmla="*/ 36 h 285"/>
                <a:gd name="T54" fmla="*/ 599 w 666"/>
                <a:gd name="T55" fmla="*/ 46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66" h="285">
                  <a:moveTo>
                    <a:pt x="483" y="285"/>
                  </a:moveTo>
                  <a:cubicBezTo>
                    <a:pt x="472" y="285"/>
                    <a:pt x="461" y="279"/>
                    <a:pt x="455" y="270"/>
                  </a:cubicBezTo>
                  <a:cubicBezTo>
                    <a:pt x="462" y="264"/>
                    <a:pt x="468" y="257"/>
                    <a:pt x="474" y="250"/>
                  </a:cubicBezTo>
                  <a:cubicBezTo>
                    <a:pt x="477" y="251"/>
                    <a:pt x="480" y="251"/>
                    <a:pt x="483" y="251"/>
                  </a:cubicBezTo>
                  <a:cubicBezTo>
                    <a:pt x="571" y="251"/>
                    <a:pt x="657" y="140"/>
                    <a:pt x="666" y="50"/>
                  </a:cubicBezTo>
                  <a:cubicBezTo>
                    <a:pt x="666" y="56"/>
                    <a:pt x="666" y="62"/>
                    <a:pt x="666" y="69"/>
                  </a:cubicBezTo>
                  <a:cubicBezTo>
                    <a:pt x="666" y="161"/>
                    <a:pt x="576" y="285"/>
                    <a:pt x="483" y="285"/>
                  </a:cubicBezTo>
                  <a:close/>
                  <a:moveTo>
                    <a:pt x="183" y="285"/>
                  </a:moveTo>
                  <a:cubicBezTo>
                    <a:pt x="90" y="285"/>
                    <a:pt x="0" y="161"/>
                    <a:pt x="0" y="69"/>
                  </a:cubicBezTo>
                  <a:cubicBezTo>
                    <a:pt x="0" y="62"/>
                    <a:pt x="0" y="56"/>
                    <a:pt x="0" y="50"/>
                  </a:cubicBezTo>
                  <a:cubicBezTo>
                    <a:pt x="9" y="140"/>
                    <a:pt x="95" y="251"/>
                    <a:pt x="183" y="251"/>
                  </a:cubicBezTo>
                  <a:cubicBezTo>
                    <a:pt x="186" y="251"/>
                    <a:pt x="189" y="251"/>
                    <a:pt x="192" y="250"/>
                  </a:cubicBezTo>
                  <a:cubicBezTo>
                    <a:pt x="198" y="257"/>
                    <a:pt x="204" y="264"/>
                    <a:pt x="211" y="270"/>
                  </a:cubicBezTo>
                  <a:cubicBezTo>
                    <a:pt x="205" y="279"/>
                    <a:pt x="195" y="285"/>
                    <a:pt x="183" y="285"/>
                  </a:cubicBezTo>
                  <a:close/>
                  <a:moveTo>
                    <a:pt x="67" y="46"/>
                  </a:moveTo>
                  <a:cubicBezTo>
                    <a:pt x="67" y="42"/>
                    <a:pt x="66" y="39"/>
                    <a:pt x="66" y="36"/>
                  </a:cubicBezTo>
                  <a:cubicBezTo>
                    <a:pt x="66" y="19"/>
                    <a:pt x="66" y="7"/>
                    <a:pt x="70" y="0"/>
                  </a:cubicBezTo>
                  <a:cubicBezTo>
                    <a:pt x="75" y="10"/>
                    <a:pt x="87" y="18"/>
                    <a:pt x="100" y="18"/>
                  </a:cubicBezTo>
                  <a:lnTo>
                    <a:pt x="108" y="18"/>
                  </a:lnTo>
                  <a:lnTo>
                    <a:pt x="108" y="18"/>
                  </a:lnTo>
                  <a:cubicBezTo>
                    <a:pt x="77" y="20"/>
                    <a:pt x="69" y="26"/>
                    <a:pt x="67" y="46"/>
                  </a:cubicBezTo>
                  <a:moveTo>
                    <a:pt x="599" y="46"/>
                  </a:moveTo>
                  <a:cubicBezTo>
                    <a:pt x="597" y="26"/>
                    <a:pt x="590" y="20"/>
                    <a:pt x="558" y="18"/>
                  </a:cubicBezTo>
                  <a:lnTo>
                    <a:pt x="558" y="18"/>
                  </a:lnTo>
                  <a:lnTo>
                    <a:pt x="566" y="18"/>
                  </a:lnTo>
                  <a:cubicBezTo>
                    <a:pt x="579" y="18"/>
                    <a:pt x="591" y="10"/>
                    <a:pt x="596" y="0"/>
                  </a:cubicBezTo>
                  <a:cubicBezTo>
                    <a:pt x="600" y="7"/>
                    <a:pt x="600" y="19"/>
                    <a:pt x="600" y="36"/>
                  </a:cubicBezTo>
                  <a:cubicBezTo>
                    <a:pt x="600" y="39"/>
                    <a:pt x="600" y="42"/>
                    <a:pt x="599" y="46"/>
                  </a:cubicBez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804"/>
            <p:cNvSpPr>
              <a:spLocks/>
            </p:cNvSpPr>
            <p:nvPr/>
          </p:nvSpPr>
          <p:spPr bwMode="auto">
            <a:xfrm>
              <a:off x="2387600" y="6097588"/>
              <a:ext cx="220663" cy="111125"/>
            </a:xfrm>
            <a:custGeom>
              <a:avLst/>
              <a:gdLst>
                <a:gd name="T0" fmla="*/ 483 w 666"/>
                <a:gd name="T1" fmla="*/ 333 h 333"/>
                <a:gd name="T2" fmla="*/ 450 w 666"/>
                <a:gd name="T3" fmla="*/ 300 h 333"/>
                <a:gd name="T4" fmla="*/ 483 w 666"/>
                <a:gd name="T5" fmla="*/ 267 h 333"/>
                <a:gd name="T6" fmla="*/ 600 w 666"/>
                <a:gd name="T7" fmla="*/ 118 h 333"/>
                <a:gd name="T8" fmla="*/ 533 w 666"/>
                <a:gd name="T9" fmla="*/ 67 h 333"/>
                <a:gd name="T10" fmla="*/ 133 w 666"/>
                <a:gd name="T11" fmla="*/ 67 h 333"/>
                <a:gd name="T12" fmla="*/ 66 w 666"/>
                <a:gd name="T13" fmla="*/ 118 h 333"/>
                <a:gd name="T14" fmla="*/ 183 w 666"/>
                <a:gd name="T15" fmla="*/ 267 h 333"/>
                <a:gd name="T16" fmla="*/ 216 w 666"/>
                <a:gd name="T17" fmla="*/ 300 h 333"/>
                <a:gd name="T18" fmla="*/ 183 w 666"/>
                <a:gd name="T19" fmla="*/ 333 h 333"/>
                <a:gd name="T20" fmla="*/ 0 w 666"/>
                <a:gd name="T21" fmla="*/ 118 h 333"/>
                <a:gd name="T22" fmla="*/ 133 w 666"/>
                <a:gd name="T23" fmla="*/ 0 h 333"/>
                <a:gd name="T24" fmla="*/ 533 w 666"/>
                <a:gd name="T25" fmla="*/ 0 h 333"/>
                <a:gd name="T26" fmla="*/ 666 w 666"/>
                <a:gd name="T27" fmla="*/ 118 h 333"/>
                <a:gd name="T28" fmla="*/ 483 w 666"/>
                <a:gd name="T29" fmla="*/ 333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6" h="333">
                  <a:moveTo>
                    <a:pt x="483" y="333"/>
                  </a:moveTo>
                  <a:cubicBezTo>
                    <a:pt x="465" y="333"/>
                    <a:pt x="450" y="318"/>
                    <a:pt x="450" y="300"/>
                  </a:cubicBezTo>
                  <a:cubicBezTo>
                    <a:pt x="450" y="282"/>
                    <a:pt x="465" y="267"/>
                    <a:pt x="483" y="267"/>
                  </a:cubicBezTo>
                  <a:cubicBezTo>
                    <a:pt x="536" y="267"/>
                    <a:pt x="600" y="175"/>
                    <a:pt x="600" y="118"/>
                  </a:cubicBezTo>
                  <a:cubicBezTo>
                    <a:pt x="600" y="72"/>
                    <a:pt x="600" y="67"/>
                    <a:pt x="533" y="67"/>
                  </a:cubicBezTo>
                  <a:lnTo>
                    <a:pt x="133" y="67"/>
                  </a:lnTo>
                  <a:cubicBezTo>
                    <a:pt x="66" y="67"/>
                    <a:pt x="66" y="72"/>
                    <a:pt x="66" y="118"/>
                  </a:cubicBezTo>
                  <a:cubicBezTo>
                    <a:pt x="66" y="175"/>
                    <a:pt x="130" y="267"/>
                    <a:pt x="183" y="267"/>
                  </a:cubicBezTo>
                  <a:cubicBezTo>
                    <a:pt x="202" y="267"/>
                    <a:pt x="216" y="282"/>
                    <a:pt x="216" y="300"/>
                  </a:cubicBezTo>
                  <a:cubicBezTo>
                    <a:pt x="216" y="318"/>
                    <a:pt x="202" y="333"/>
                    <a:pt x="183" y="333"/>
                  </a:cubicBezTo>
                  <a:cubicBezTo>
                    <a:pt x="90" y="333"/>
                    <a:pt x="0" y="210"/>
                    <a:pt x="0" y="118"/>
                  </a:cubicBezTo>
                  <a:cubicBezTo>
                    <a:pt x="0" y="9"/>
                    <a:pt x="63" y="0"/>
                    <a:pt x="133" y="0"/>
                  </a:cubicBezTo>
                  <a:lnTo>
                    <a:pt x="533" y="0"/>
                  </a:lnTo>
                  <a:cubicBezTo>
                    <a:pt x="603" y="0"/>
                    <a:pt x="666" y="9"/>
                    <a:pt x="666" y="118"/>
                  </a:cubicBezTo>
                  <a:cubicBezTo>
                    <a:pt x="666" y="210"/>
                    <a:pt x="576" y="333"/>
                    <a:pt x="483" y="333"/>
                  </a:cubicBezTo>
                  <a:close/>
                </a:path>
              </a:pathLst>
            </a:custGeom>
            <a:solidFill>
              <a:srgbClr val="E08E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805"/>
            <p:cNvSpPr>
              <a:spLocks/>
            </p:cNvSpPr>
            <p:nvPr/>
          </p:nvSpPr>
          <p:spPr bwMode="auto">
            <a:xfrm>
              <a:off x="2420938" y="6097588"/>
              <a:ext cx="153988" cy="133350"/>
            </a:xfrm>
            <a:custGeom>
              <a:avLst/>
              <a:gdLst>
                <a:gd name="T0" fmla="*/ 0 w 466"/>
                <a:gd name="T1" fmla="*/ 0 h 400"/>
                <a:gd name="T2" fmla="*/ 233 w 466"/>
                <a:gd name="T3" fmla="*/ 400 h 400"/>
                <a:gd name="T4" fmla="*/ 466 w 466"/>
                <a:gd name="T5" fmla="*/ 0 h 400"/>
                <a:gd name="T6" fmla="*/ 0 w 466"/>
                <a:gd name="T7" fmla="*/ 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6" h="400">
                  <a:moveTo>
                    <a:pt x="0" y="0"/>
                  </a:moveTo>
                  <a:cubicBezTo>
                    <a:pt x="11" y="332"/>
                    <a:pt x="140" y="400"/>
                    <a:pt x="233" y="400"/>
                  </a:cubicBezTo>
                  <a:cubicBezTo>
                    <a:pt x="326" y="400"/>
                    <a:pt x="456" y="332"/>
                    <a:pt x="46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3C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806"/>
            <p:cNvSpPr>
              <a:spLocks/>
            </p:cNvSpPr>
            <p:nvPr/>
          </p:nvSpPr>
          <p:spPr bwMode="auto">
            <a:xfrm>
              <a:off x="2433638" y="6275388"/>
              <a:ext cx="128588" cy="33338"/>
            </a:xfrm>
            <a:custGeom>
              <a:avLst/>
              <a:gdLst>
                <a:gd name="T0" fmla="*/ 390 w 390"/>
                <a:gd name="T1" fmla="*/ 104 h 104"/>
                <a:gd name="T2" fmla="*/ 195 w 390"/>
                <a:gd name="T3" fmla="*/ 0 h 104"/>
                <a:gd name="T4" fmla="*/ 0 w 390"/>
                <a:gd name="T5" fmla="*/ 104 h 104"/>
                <a:gd name="T6" fmla="*/ 390 w 390"/>
                <a:gd name="T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0" h="104">
                  <a:moveTo>
                    <a:pt x="390" y="104"/>
                  </a:moveTo>
                  <a:cubicBezTo>
                    <a:pt x="370" y="45"/>
                    <a:pt x="291" y="0"/>
                    <a:pt x="195" y="0"/>
                  </a:cubicBezTo>
                  <a:cubicBezTo>
                    <a:pt x="100" y="0"/>
                    <a:pt x="20" y="45"/>
                    <a:pt x="0" y="104"/>
                  </a:cubicBezTo>
                  <a:lnTo>
                    <a:pt x="390" y="104"/>
                  </a:lnTo>
                  <a:close/>
                </a:path>
              </a:pathLst>
            </a:custGeom>
            <a:solidFill>
              <a:srgbClr val="F3C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807"/>
            <p:cNvSpPr>
              <a:spLocks/>
            </p:cNvSpPr>
            <p:nvPr/>
          </p:nvSpPr>
          <p:spPr bwMode="auto">
            <a:xfrm>
              <a:off x="2409825" y="6297613"/>
              <a:ext cx="176213" cy="22225"/>
            </a:xfrm>
            <a:custGeom>
              <a:avLst/>
              <a:gdLst>
                <a:gd name="T0" fmla="*/ 534 w 534"/>
                <a:gd name="T1" fmla="*/ 33 h 67"/>
                <a:gd name="T2" fmla="*/ 500 w 534"/>
                <a:gd name="T3" fmla="*/ 67 h 67"/>
                <a:gd name="T4" fmla="*/ 34 w 534"/>
                <a:gd name="T5" fmla="*/ 67 h 67"/>
                <a:gd name="T6" fmla="*/ 0 w 534"/>
                <a:gd name="T7" fmla="*/ 33 h 67"/>
                <a:gd name="T8" fmla="*/ 34 w 534"/>
                <a:gd name="T9" fmla="*/ 0 h 67"/>
                <a:gd name="T10" fmla="*/ 500 w 534"/>
                <a:gd name="T11" fmla="*/ 0 h 67"/>
                <a:gd name="T12" fmla="*/ 534 w 534"/>
                <a:gd name="T13" fmla="*/ 3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4" h="67">
                  <a:moveTo>
                    <a:pt x="534" y="33"/>
                  </a:moveTo>
                  <a:cubicBezTo>
                    <a:pt x="534" y="52"/>
                    <a:pt x="519" y="67"/>
                    <a:pt x="500" y="67"/>
                  </a:cubicBezTo>
                  <a:lnTo>
                    <a:pt x="34" y="67"/>
                  </a:ln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lnTo>
                    <a:pt x="500" y="0"/>
                  </a:lnTo>
                  <a:cubicBezTo>
                    <a:pt x="519" y="0"/>
                    <a:pt x="534" y="15"/>
                    <a:pt x="534" y="33"/>
                  </a:cubicBezTo>
                  <a:close/>
                </a:path>
              </a:pathLst>
            </a:custGeom>
            <a:solidFill>
              <a:srgbClr val="4956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808"/>
            <p:cNvSpPr>
              <a:spLocks noEditPoints="1"/>
            </p:cNvSpPr>
            <p:nvPr/>
          </p:nvSpPr>
          <p:spPr bwMode="auto">
            <a:xfrm>
              <a:off x="2465388" y="6253163"/>
              <a:ext cx="66675" cy="22225"/>
            </a:xfrm>
            <a:custGeom>
              <a:avLst/>
              <a:gdLst>
                <a:gd name="T0" fmla="*/ 167 w 200"/>
                <a:gd name="T1" fmla="*/ 66 h 66"/>
                <a:gd name="T2" fmla="*/ 167 w 200"/>
                <a:gd name="T3" fmla="*/ 66 h 66"/>
                <a:gd name="T4" fmla="*/ 167 w 200"/>
                <a:gd name="T5" fmla="*/ 0 h 66"/>
                <a:gd name="T6" fmla="*/ 200 w 200"/>
                <a:gd name="T7" fmla="*/ 33 h 66"/>
                <a:gd name="T8" fmla="*/ 167 w 200"/>
                <a:gd name="T9" fmla="*/ 66 h 66"/>
                <a:gd name="T10" fmla="*/ 33 w 200"/>
                <a:gd name="T11" fmla="*/ 66 h 66"/>
                <a:gd name="T12" fmla="*/ 0 w 200"/>
                <a:gd name="T13" fmla="*/ 33 h 66"/>
                <a:gd name="T14" fmla="*/ 33 w 200"/>
                <a:gd name="T15" fmla="*/ 0 h 66"/>
                <a:gd name="T16" fmla="*/ 33 w 200"/>
                <a:gd name="T1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66">
                  <a:moveTo>
                    <a:pt x="167" y="66"/>
                  </a:moveTo>
                  <a:lnTo>
                    <a:pt x="167" y="66"/>
                  </a:lnTo>
                  <a:lnTo>
                    <a:pt x="167" y="0"/>
                  </a:lnTo>
                  <a:cubicBezTo>
                    <a:pt x="185" y="0"/>
                    <a:pt x="200" y="15"/>
                    <a:pt x="200" y="33"/>
                  </a:cubicBezTo>
                  <a:cubicBezTo>
                    <a:pt x="200" y="51"/>
                    <a:pt x="185" y="66"/>
                    <a:pt x="167" y="66"/>
                  </a:cubicBezTo>
                  <a:close/>
                  <a:moveTo>
                    <a:pt x="33" y="66"/>
                  </a:moveTo>
                  <a:cubicBezTo>
                    <a:pt x="15" y="66"/>
                    <a:pt x="0" y="51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810"/>
            <p:cNvSpPr>
              <a:spLocks/>
            </p:cNvSpPr>
            <p:nvPr/>
          </p:nvSpPr>
          <p:spPr bwMode="auto">
            <a:xfrm>
              <a:off x="2476500" y="6253163"/>
              <a:ext cx="44450" cy="22225"/>
            </a:xfrm>
            <a:custGeom>
              <a:avLst/>
              <a:gdLst>
                <a:gd name="T0" fmla="*/ 28 w 28"/>
                <a:gd name="T1" fmla="*/ 14 h 14"/>
                <a:gd name="T2" fmla="*/ 14 w 28"/>
                <a:gd name="T3" fmla="*/ 14 h 14"/>
                <a:gd name="T4" fmla="*/ 14 w 28"/>
                <a:gd name="T5" fmla="*/ 14 h 14"/>
                <a:gd name="T6" fmla="*/ 14 w 28"/>
                <a:gd name="T7" fmla="*/ 14 h 14"/>
                <a:gd name="T8" fmla="*/ 0 w 28"/>
                <a:gd name="T9" fmla="*/ 14 h 14"/>
                <a:gd name="T10" fmla="*/ 0 w 28"/>
                <a:gd name="T11" fmla="*/ 14 h 14"/>
                <a:gd name="T12" fmla="*/ 0 w 28"/>
                <a:gd name="T13" fmla="*/ 0 h 14"/>
                <a:gd name="T14" fmla="*/ 0 w 28"/>
                <a:gd name="T15" fmla="*/ 0 h 14"/>
                <a:gd name="T16" fmla="*/ 28 w 28"/>
                <a:gd name="T17" fmla="*/ 0 h 14"/>
                <a:gd name="T18" fmla="*/ 28 w 28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14">
                  <a:moveTo>
                    <a:pt x="28" y="14"/>
                  </a:move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14"/>
                  </a:lnTo>
                  <a:close/>
                </a:path>
              </a:pathLst>
            </a:custGeom>
            <a:solidFill>
              <a:srgbClr val="B77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811"/>
            <p:cNvSpPr>
              <a:spLocks/>
            </p:cNvSpPr>
            <p:nvPr/>
          </p:nvSpPr>
          <p:spPr bwMode="auto">
            <a:xfrm>
              <a:off x="2465388" y="6242050"/>
              <a:ext cx="66675" cy="22225"/>
            </a:xfrm>
            <a:custGeom>
              <a:avLst/>
              <a:gdLst>
                <a:gd name="T0" fmla="*/ 200 w 200"/>
                <a:gd name="T1" fmla="*/ 34 h 67"/>
                <a:gd name="T2" fmla="*/ 167 w 200"/>
                <a:gd name="T3" fmla="*/ 67 h 67"/>
                <a:gd name="T4" fmla="*/ 33 w 200"/>
                <a:gd name="T5" fmla="*/ 67 h 67"/>
                <a:gd name="T6" fmla="*/ 0 w 200"/>
                <a:gd name="T7" fmla="*/ 34 h 67"/>
                <a:gd name="T8" fmla="*/ 33 w 200"/>
                <a:gd name="T9" fmla="*/ 0 h 67"/>
                <a:gd name="T10" fmla="*/ 167 w 200"/>
                <a:gd name="T11" fmla="*/ 0 h 67"/>
                <a:gd name="T12" fmla="*/ 200 w 200"/>
                <a:gd name="T13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67">
                  <a:moveTo>
                    <a:pt x="200" y="34"/>
                  </a:moveTo>
                  <a:cubicBezTo>
                    <a:pt x="200" y="52"/>
                    <a:pt x="185" y="67"/>
                    <a:pt x="167" y="67"/>
                  </a:cubicBezTo>
                  <a:lnTo>
                    <a:pt x="33" y="67"/>
                  </a:lnTo>
                  <a:cubicBezTo>
                    <a:pt x="15" y="67"/>
                    <a:pt x="0" y="52"/>
                    <a:pt x="0" y="34"/>
                  </a:cubicBezTo>
                  <a:cubicBezTo>
                    <a:pt x="0" y="15"/>
                    <a:pt x="15" y="0"/>
                    <a:pt x="33" y="0"/>
                  </a:cubicBezTo>
                  <a:lnTo>
                    <a:pt x="167" y="0"/>
                  </a:lnTo>
                  <a:cubicBezTo>
                    <a:pt x="185" y="0"/>
                    <a:pt x="200" y="15"/>
                    <a:pt x="200" y="34"/>
                  </a:cubicBezTo>
                  <a:close/>
                </a:path>
              </a:pathLst>
            </a:custGeom>
            <a:solidFill>
              <a:srgbClr val="F3C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812"/>
            <p:cNvSpPr>
              <a:spLocks/>
            </p:cNvSpPr>
            <p:nvPr/>
          </p:nvSpPr>
          <p:spPr bwMode="auto">
            <a:xfrm>
              <a:off x="2573338" y="6119813"/>
              <a:ext cx="12700" cy="11113"/>
            </a:xfrm>
            <a:custGeom>
              <a:avLst/>
              <a:gdLst>
                <a:gd name="T0" fmla="*/ 8 w 38"/>
                <a:gd name="T1" fmla="*/ 33 h 33"/>
                <a:gd name="T2" fmla="*/ 0 w 38"/>
                <a:gd name="T3" fmla="*/ 33 h 33"/>
                <a:gd name="T4" fmla="*/ 4 w 38"/>
                <a:gd name="T5" fmla="*/ 0 h 33"/>
                <a:gd name="T6" fmla="*/ 38 w 38"/>
                <a:gd name="T7" fmla="*/ 15 h 33"/>
                <a:gd name="T8" fmla="*/ 8 w 38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3">
                  <a:moveTo>
                    <a:pt x="8" y="33"/>
                  </a:moveTo>
                  <a:lnTo>
                    <a:pt x="0" y="33"/>
                  </a:lnTo>
                  <a:cubicBezTo>
                    <a:pt x="2" y="22"/>
                    <a:pt x="3" y="11"/>
                    <a:pt x="4" y="0"/>
                  </a:cubicBezTo>
                  <a:cubicBezTo>
                    <a:pt x="25" y="2"/>
                    <a:pt x="34" y="5"/>
                    <a:pt x="38" y="15"/>
                  </a:cubicBezTo>
                  <a:cubicBezTo>
                    <a:pt x="33" y="25"/>
                    <a:pt x="21" y="33"/>
                    <a:pt x="8" y="33"/>
                  </a:cubicBezTo>
                </a:path>
              </a:pathLst>
            </a:custGeom>
            <a:solidFill>
              <a:srgbClr val="88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813"/>
            <p:cNvSpPr>
              <a:spLocks/>
            </p:cNvSpPr>
            <p:nvPr/>
          </p:nvSpPr>
          <p:spPr bwMode="auto">
            <a:xfrm>
              <a:off x="2574925" y="6108700"/>
              <a:ext cx="11113" cy="17463"/>
            </a:xfrm>
            <a:custGeom>
              <a:avLst/>
              <a:gdLst>
                <a:gd name="T0" fmla="*/ 34 w 38"/>
                <a:gd name="T1" fmla="*/ 49 h 49"/>
                <a:gd name="T2" fmla="*/ 0 w 38"/>
                <a:gd name="T3" fmla="*/ 34 h 49"/>
                <a:gd name="T4" fmla="*/ 2 w 38"/>
                <a:gd name="T5" fmla="*/ 0 h 49"/>
                <a:gd name="T6" fmla="*/ 4 w 38"/>
                <a:gd name="T7" fmla="*/ 0 h 49"/>
                <a:gd name="T8" fmla="*/ 38 w 38"/>
                <a:gd name="T9" fmla="*/ 34 h 49"/>
                <a:gd name="T10" fmla="*/ 34 w 38"/>
                <a:gd name="T1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49">
                  <a:moveTo>
                    <a:pt x="34" y="49"/>
                  </a:moveTo>
                  <a:cubicBezTo>
                    <a:pt x="30" y="39"/>
                    <a:pt x="21" y="36"/>
                    <a:pt x="0" y="34"/>
                  </a:cubicBezTo>
                  <a:cubicBezTo>
                    <a:pt x="1" y="23"/>
                    <a:pt x="2" y="12"/>
                    <a:pt x="2" y="0"/>
                  </a:cubicBezTo>
                  <a:lnTo>
                    <a:pt x="4" y="0"/>
                  </a:lnTo>
                  <a:cubicBezTo>
                    <a:pt x="23" y="0"/>
                    <a:pt x="38" y="15"/>
                    <a:pt x="38" y="34"/>
                  </a:cubicBezTo>
                  <a:cubicBezTo>
                    <a:pt x="38" y="39"/>
                    <a:pt x="36" y="44"/>
                    <a:pt x="34" y="49"/>
                  </a:cubicBezTo>
                  <a:close/>
                </a:path>
              </a:pathLst>
            </a:custGeom>
            <a:solidFill>
              <a:srgbClr val="B77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814"/>
            <p:cNvSpPr>
              <a:spLocks/>
            </p:cNvSpPr>
            <p:nvPr/>
          </p:nvSpPr>
          <p:spPr bwMode="auto">
            <a:xfrm>
              <a:off x="2411413" y="6119813"/>
              <a:ext cx="12700" cy="11113"/>
            </a:xfrm>
            <a:custGeom>
              <a:avLst/>
              <a:gdLst>
                <a:gd name="T0" fmla="*/ 38 w 38"/>
                <a:gd name="T1" fmla="*/ 33 h 33"/>
                <a:gd name="T2" fmla="*/ 30 w 38"/>
                <a:gd name="T3" fmla="*/ 33 h 33"/>
                <a:gd name="T4" fmla="*/ 0 w 38"/>
                <a:gd name="T5" fmla="*/ 15 h 33"/>
                <a:gd name="T6" fmla="*/ 34 w 38"/>
                <a:gd name="T7" fmla="*/ 0 h 33"/>
                <a:gd name="T8" fmla="*/ 38 w 38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3">
                  <a:moveTo>
                    <a:pt x="38" y="33"/>
                  </a:moveTo>
                  <a:lnTo>
                    <a:pt x="30" y="33"/>
                  </a:lnTo>
                  <a:cubicBezTo>
                    <a:pt x="17" y="33"/>
                    <a:pt x="5" y="25"/>
                    <a:pt x="0" y="15"/>
                  </a:cubicBezTo>
                  <a:cubicBezTo>
                    <a:pt x="4" y="5"/>
                    <a:pt x="14" y="2"/>
                    <a:pt x="34" y="0"/>
                  </a:cubicBezTo>
                  <a:cubicBezTo>
                    <a:pt x="35" y="11"/>
                    <a:pt x="37" y="22"/>
                    <a:pt x="38" y="33"/>
                  </a:cubicBezTo>
                </a:path>
              </a:pathLst>
            </a:custGeom>
            <a:solidFill>
              <a:srgbClr val="8838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815"/>
            <p:cNvSpPr>
              <a:spLocks/>
            </p:cNvSpPr>
            <p:nvPr/>
          </p:nvSpPr>
          <p:spPr bwMode="auto">
            <a:xfrm>
              <a:off x="2409825" y="6108700"/>
              <a:ext cx="12700" cy="17463"/>
            </a:xfrm>
            <a:custGeom>
              <a:avLst/>
              <a:gdLst>
                <a:gd name="T0" fmla="*/ 4 w 38"/>
                <a:gd name="T1" fmla="*/ 49 h 49"/>
                <a:gd name="T2" fmla="*/ 0 w 38"/>
                <a:gd name="T3" fmla="*/ 34 h 49"/>
                <a:gd name="T4" fmla="*/ 34 w 38"/>
                <a:gd name="T5" fmla="*/ 0 h 49"/>
                <a:gd name="T6" fmla="*/ 36 w 38"/>
                <a:gd name="T7" fmla="*/ 0 h 49"/>
                <a:gd name="T8" fmla="*/ 38 w 38"/>
                <a:gd name="T9" fmla="*/ 34 h 49"/>
                <a:gd name="T10" fmla="*/ 4 w 38"/>
                <a:gd name="T1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8" h="49">
                  <a:moveTo>
                    <a:pt x="4" y="49"/>
                  </a:moveTo>
                  <a:cubicBezTo>
                    <a:pt x="2" y="44"/>
                    <a:pt x="0" y="39"/>
                    <a:pt x="0" y="34"/>
                  </a:cubicBezTo>
                  <a:cubicBezTo>
                    <a:pt x="0" y="15"/>
                    <a:pt x="15" y="0"/>
                    <a:pt x="34" y="0"/>
                  </a:cubicBezTo>
                  <a:lnTo>
                    <a:pt x="36" y="0"/>
                  </a:lnTo>
                  <a:cubicBezTo>
                    <a:pt x="37" y="12"/>
                    <a:pt x="37" y="23"/>
                    <a:pt x="38" y="34"/>
                  </a:cubicBezTo>
                  <a:cubicBezTo>
                    <a:pt x="18" y="36"/>
                    <a:pt x="8" y="39"/>
                    <a:pt x="4" y="49"/>
                  </a:cubicBezTo>
                  <a:close/>
                </a:path>
              </a:pathLst>
            </a:custGeom>
            <a:solidFill>
              <a:srgbClr val="B777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816"/>
            <p:cNvSpPr>
              <a:spLocks/>
            </p:cNvSpPr>
            <p:nvPr/>
          </p:nvSpPr>
          <p:spPr bwMode="auto">
            <a:xfrm>
              <a:off x="2420938" y="6108700"/>
              <a:ext cx="153988" cy="22225"/>
            </a:xfrm>
            <a:custGeom>
              <a:avLst/>
              <a:gdLst>
                <a:gd name="T0" fmla="*/ 456 w 462"/>
                <a:gd name="T1" fmla="*/ 67 h 67"/>
                <a:gd name="T2" fmla="*/ 6 w 462"/>
                <a:gd name="T3" fmla="*/ 67 h 67"/>
                <a:gd name="T4" fmla="*/ 2 w 462"/>
                <a:gd name="T5" fmla="*/ 34 h 67"/>
                <a:gd name="T6" fmla="*/ 0 w 462"/>
                <a:gd name="T7" fmla="*/ 0 h 67"/>
                <a:gd name="T8" fmla="*/ 462 w 462"/>
                <a:gd name="T9" fmla="*/ 0 h 67"/>
                <a:gd name="T10" fmla="*/ 460 w 462"/>
                <a:gd name="T11" fmla="*/ 34 h 67"/>
                <a:gd name="T12" fmla="*/ 456 w 462"/>
                <a:gd name="T13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2" h="67">
                  <a:moveTo>
                    <a:pt x="456" y="67"/>
                  </a:moveTo>
                  <a:lnTo>
                    <a:pt x="6" y="67"/>
                  </a:lnTo>
                  <a:cubicBezTo>
                    <a:pt x="5" y="56"/>
                    <a:pt x="3" y="45"/>
                    <a:pt x="2" y="34"/>
                  </a:cubicBezTo>
                  <a:cubicBezTo>
                    <a:pt x="1" y="23"/>
                    <a:pt x="1" y="12"/>
                    <a:pt x="0" y="0"/>
                  </a:cubicBezTo>
                  <a:lnTo>
                    <a:pt x="462" y="0"/>
                  </a:lnTo>
                  <a:cubicBezTo>
                    <a:pt x="462" y="12"/>
                    <a:pt x="461" y="23"/>
                    <a:pt x="460" y="34"/>
                  </a:cubicBezTo>
                  <a:cubicBezTo>
                    <a:pt x="459" y="45"/>
                    <a:pt x="458" y="56"/>
                    <a:pt x="456" y="67"/>
                  </a:cubicBezTo>
                  <a:close/>
                </a:path>
              </a:pathLst>
            </a:custGeom>
            <a:solidFill>
              <a:srgbClr val="C7A8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17"/>
            <p:cNvSpPr>
              <a:spLocks/>
            </p:cNvSpPr>
            <p:nvPr/>
          </p:nvSpPr>
          <p:spPr bwMode="auto">
            <a:xfrm>
              <a:off x="2409825" y="6097588"/>
              <a:ext cx="176213" cy="22225"/>
            </a:xfrm>
            <a:custGeom>
              <a:avLst/>
              <a:gdLst>
                <a:gd name="T0" fmla="*/ 534 w 534"/>
                <a:gd name="T1" fmla="*/ 33 h 67"/>
                <a:gd name="T2" fmla="*/ 500 w 534"/>
                <a:gd name="T3" fmla="*/ 67 h 67"/>
                <a:gd name="T4" fmla="*/ 34 w 534"/>
                <a:gd name="T5" fmla="*/ 67 h 67"/>
                <a:gd name="T6" fmla="*/ 0 w 534"/>
                <a:gd name="T7" fmla="*/ 33 h 67"/>
                <a:gd name="T8" fmla="*/ 34 w 534"/>
                <a:gd name="T9" fmla="*/ 0 h 67"/>
                <a:gd name="T10" fmla="*/ 500 w 534"/>
                <a:gd name="T11" fmla="*/ 0 h 67"/>
                <a:gd name="T12" fmla="*/ 534 w 534"/>
                <a:gd name="T13" fmla="*/ 3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4" h="67">
                  <a:moveTo>
                    <a:pt x="534" y="33"/>
                  </a:moveTo>
                  <a:cubicBezTo>
                    <a:pt x="534" y="52"/>
                    <a:pt x="519" y="67"/>
                    <a:pt x="500" y="67"/>
                  </a:cubicBezTo>
                  <a:lnTo>
                    <a:pt x="34" y="67"/>
                  </a:ln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lnTo>
                    <a:pt x="500" y="0"/>
                  </a:lnTo>
                  <a:cubicBezTo>
                    <a:pt x="519" y="0"/>
                    <a:pt x="534" y="15"/>
                    <a:pt x="534" y="33"/>
                  </a:cubicBezTo>
                  <a:close/>
                </a:path>
              </a:pathLst>
            </a:custGeom>
            <a:solidFill>
              <a:srgbClr val="F3C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8" name="Star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0434447" y="3060812"/>
            <a:ext cx="1607321" cy="1600114"/>
            <a:chOff x="465138" y="928688"/>
            <a:chExt cx="354013" cy="352425"/>
          </a:xfrm>
        </p:grpSpPr>
        <p:sp>
          <p:nvSpPr>
            <p:cNvPr id="69" name="Oval 128"/>
            <p:cNvSpPr>
              <a:spLocks noChangeArrowheads="1"/>
            </p:cNvSpPr>
            <p:nvPr/>
          </p:nvSpPr>
          <p:spPr bwMode="auto">
            <a:xfrm>
              <a:off x="465138" y="928688"/>
              <a:ext cx="354013" cy="352425"/>
            </a:xfrm>
            <a:prstGeom prst="ellipse">
              <a:avLst/>
            </a:prstGeom>
            <a:solidFill>
              <a:srgbClr val="C847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29"/>
            <p:cNvSpPr>
              <a:spLocks/>
            </p:cNvSpPr>
            <p:nvPr/>
          </p:nvSpPr>
          <p:spPr bwMode="auto">
            <a:xfrm>
              <a:off x="525463" y="998538"/>
              <a:ext cx="233363" cy="222250"/>
            </a:xfrm>
            <a:custGeom>
              <a:avLst/>
              <a:gdLst>
                <a:gd name="T0" fmla="*/ 542 w 706"/>
                <a:gd name="T1" fmla="*/ 670 h 670"/>
                <a:gd name="T2" fmla="*/ 522 w 706"/>
                <a:gd name="T3" fmla="*/ 665 h 670"/>
                <a:gd name="T4" fmla="*/ 353 w 706"/>
                <a:gd name="T5" fmla="*/ 576 h 670"/>
                <a:gd name="T6" fmla="*/ 184 w 706"/>
                <a:gd name="T7" fmla="*/ 665 h 670"/>
                <a:gd name="T8" fmla="*/ 164 w 706"/>
                <a:gd name="T9" fmla="*/ 670 h 670"/>
                <a:gd name="T10" fmla="*/ 138 w 706"/>
                <a:gd name="T11" fmla="*/ 662 h 670"/>
                <a:gd name="T12" fmla="*/ 121 w 706"/>
                <a:gd name="T13" fmla="*/ 619 h 670"/>
                <a:gd name="T14" fmla="*/ 153 w 706"/>
                <a:gd name="T15" fmla="*/ 431 h 670"/>
                <a:gd name="T16" fmla="*/ 16 w 706"/>
                <a:gd name="T17" fmla="*/ 298 h 670"/>
                <a:gd name="T18" fmla="*/ 5 w 706"/>
                <a:gd name="T19" fmla="*/ 253 h 670"/>
                <a:gd name="T20" fmla="*/ 41 w 706"/>
                <a:gd name="T21" fmla="*/ 223 h 670"/>
                <a:gd name="T22" fmla="*/ 229 w 706"/>
                <a:gd name="T23" fmla="*/ 196 h 670"/>
                <a:gd name="T24" fmla="*/ 314 w 706"/>
                <a:gd name="T25" fmla="*/ 24 h 670"/>
                <a:gd name="T26" fmla="*/ 353 w 706"/>
                <a:gd name="T27" fmla="*/ 0 h 670"/>
                <a:gd name="T28" fmla="*/ 392 w 706"/>
                <a:gd name="T29" fmla="*/ 24 h 670"/>
                <a:gd name="T30" fmla="*/ 477 w 706"/>
                <a:gd name="T31" fmla="*/ 196 h 670"/>
                <a:gd name="T32" fmla="*/ 666 w 706"/>
                <a:gd name="T33" fmla="*/ 223 h 670"/>
                <a:gd name="T34" fmla="*/ 701 w 706"/>
                <a:gd name="T35" fmla="*/ 253 h 670"/>
                <a:gd name="T36" fmla="*/ 690 w 706"/>
                <a:gd name="T37" fmla="*/ 298 h 670"/>
                <a:gd name="T38" fmla="*/ 553 w 706"/>
                <a:gd name="T39" fmla="*/ 431 h 670"/>
                <a:gd name="T40" fmla="*/ 586 w 706"/>
                <a:gd name="T41" fmla="*/ 619 h 670"/>
                <a:gd name="T42" fmla="*/ 568 w 706"/>
                <a:gd name="T43" fmla="*/ 662 h 670"/>
                <a:gd name="T44" fmla="*/ 542 w 706"/>
                <a:gd name="T45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6" h="670">
                  <a:moveTo>
                    <a:pt x="542" y="670"/>
                  </a:moveTo>
                  <a:cubicBezTo>
                    <a:pt x="535" y="670"/>
                    <a:pt x="528" y="668"/>
                    <a:pt x="522" y="665"/>
                  </a:cubicBezTo>
                  <a:lnTo>
                    <a:pt x="353" y="576"/>
                  </a:lnTo>
                  <a:lnTo>
                    <a:pt x="184" y="665"/>
                  </a:lnTo>
                  <a:cubicBezTo>
                    <a:pt x="178" y="668"/>
                    <a:pt x="171" y="670"/>
                    <a:pt x="164" y="670"/>
                  </a:cubicBezTo>
                  <a:cubicBezTo>
                    <a:pt x="155" y="670"/>
                    <a:pt x="146" y="667"/>
                    <a:pt x="138" y="662"/>
                  </a:cubicBezTo>
                  <a:cubicBezTo>
                    <a:pt x="125" y="652"/>
                    <a:pt x="118" y="635"/>
                    <a:pt x="121" y="619"/>
                  </a:cubicBezTo>
                  <a:lnTo>
                    <a:pt x="153" y="431"/>
                  </a:lnTo>
                  <a:lnTo>
                    <a:pt x="16" y="298"/>
                  </a:lnTo>
                  <a:cubicBezTo>
                    <a:pt x="4" y="286"/>
                    <a:pt x="0" y="269"/>
                    <a:pt x="5" y="253"/>
                  </a:cubicBezTo>
                  <a:cubicBezTo>
                    <a:pt x="10" y="237"/>
                    <a:pt x="24" y="225"/>
                    <a:pt x="41" y="223"/>
                  </a:cubicBezTo>
                  <a:lnTo>
                    <a:pt x="229" y="196"/>
                  </a:lnTo>
                  <a:lnTo>
                    <a:pt x="314" y="24"/>
                  </a:lnTo>
                  <a:cubicBezTo>
                    <a:pt x="321" y="10"/>
                    <a:pt x="336" y="0"/>
                    <a:pt x="353" y="0"/>
                  </a:cubicBezTo>
                  <a:cubicBezTo>
                    <a:pt x="370" y="0"/>
                    <a:pt x="385" y="10"/>
                    <a:pt x="392" y="24"/>
                  </a:cubicBezTo>
                  <a:lnTo>
                    <a:pt x="477" y="196"/>
                  </a:lnTo>
                  <a:lnTo>
                    <a:pt x="666" y="223"/>
                  </a:lnTo>
                  <a:cubicBezTo>
                    <a:pt x="682" y="225"/>
                    <a:pt x="696" y="237"/>
                    <a:pt x="701" y="253"/>
                  </a:cubicBezTo>
                  <a:cubicBezTo>
                    <a:pt x="706" y="269"/>
                    <a:pt x="702" y="286"/>
                    <a:pt x="690" y="298"/>
                  </a:cubicBezTo>
                  <a:lnTo>
                    <a:pt x="553" y="431"/>
                  </a:lnTo>
                  <a:lnTo>
                    <a:pt x="586" y="619"/>
                  </a:lnTo>
                  <a:cubicBezTo>
                    <a:pt x="588" y="635"/>
                    <a:pt x="582" y="652"/>
                    <a:pt x="568" y="662"/>
                  </a:cubicBezTo>
                  <a:cubicBezTo>
                    <a:pt x="560" y="667"/>
                    <a:pt x="551" y="670"/>
                    <a:pt x="542" y="670"/>
                  </a:cubicBezTo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30"/>
            <p:cNvSpPr>
              <a:spLocks/>
            </p:cNvSpPr>
            <p:nvPr/>
          </p:nvSpPr>
          <p:spPr bwMode="auto">
            <a:xfrm>
              <a:off x="525463" y="989013"/>
              <a:ext cx="233363" cy="220663"/>
            </a:xfrm>
            <a:custGeom>
              <a:avLst/>
              <a:gdLst>
                <a:gd name="T0" fmla="*/ 701 w 706"/>
                <a:gd name="T1" fmla="*/ 252 h 670"/>
                <a:gd name="T2" fmla="*/ 666 w 706"/>
                <a:gd name="T3" fmla="*/ 223 h 670"/>
                <a:gd name="T4" fmla="*/ 477 w 706"/>
                <a:gd name="T5" fmla="*/ 195 h 670"/>
                <a:gd name="T6" fmla="*/ 392 w 706"/>
                <a:gd name="T7" fmla="*/ 24 h 670"/>
                <a:gd name="T8" fmla="*/ 353 w 706"/>
                <a:gd name="T9" fmla="*/ 0 h 670"/>
                <a:gd name="T10" fmla="*/ 314 w 706"/>
                <a:gd name="T11" fmla="*/ 24 h 670"/>
                <a:gd name="T12" fmla="*/ 229 w 706"/>
                <a:gd name="T13" fmla="*/ 195 h 670"/>
                <a:gd name="T14" fmla="*/ 41 w 706"/>
                <a:gd name="T15" fmla="*/ 223 h 670"/>
                <a:gd name="T16" fmla="*/ 5 w 706"/>
                <a:gd name="T17" fmla="*/ 252 h 670"/>
                <a:gd name="T18" fmla="*/ 16 w 706"/>
                <a:gd name="T19" fmla="*/ 297 h 670"/>
                <a:gd name="T20" fmla="*/ 153 w 706"/>
                <a:gd name="T21" fmla="*/ 431 h 670"/>
                <a:gd name="T22" fmla="*/ 121 w 706"/>
                <a:gd name="T23" fmla="*/ 619 h 670"/>
                <a:gd name="T24" fmla="*/ 138 w 706"/>
                <a:gd name="T25" fmla="*/ 661 h 670"/>
                <a:gd name="T26" fmla="*/ 164 w 706"/>
                <a:gd name="T27" fmla="*/ 670 h 670"/>
                <a:gd name="T28" fmla="*/ 184 w 706"/>
                <a:gd name="T29" fmla="*/ 665 h 670"/>
                <a:gd name="T30" fmla="*/ 353 w 706"/>
                <a:gd name="T31" fmla="*/ 576 h 670"/>
                <a:gd name="T32" fmla="*/ 522 w 706"/>
                <a:gd name="T33" fmla="*/ 665 h 670"/>
                <a:gd name="T34" fmla="*/ 542 w 706"/>
                <a:gd name="T35" fmla="*/ 670 h 670"/>
                <a:gd name="T36" fmla="*/ 568 w 706"/>
                <a:gd name="T37" fmla="*/ 661 h 670"/>
                <a:gd name="T38" fmla="*/ 586 w 706"/>
                <a:gd name="T39" fmla="*/ 619 h 670"/>
                <a:gd name="T40" fmla="*/ 553 w 706"/>
                <a:gd name="T41" fmla="*/ 431 h 670"/>
                <a:gd name="T42" fmla="*/ 690 w 706"/>
                <a:gd name="T43" fmla="*/ 297 h 670"/>
                <a:gd name="T44" fmla="*/ 701 w 706"/>
                <a:gd name="T45" fmla="*/ 252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6" h="670">
                  <a:moveTo>
                    <a:pt x="701" y="252"/>
                  </a:moveTo>
                  <a:cubicBezTo>
                    <a:pt x="696" y="237"/>
                    <a:pt x="682" y="225"/>
                    <a:pt x="666" y="223"/>
                  </a:cubicBezTo>
                  <a:lnTo>
                    <a:pt x="477" y="195"/>
                  </a:lnTo>
                  <a:lnTo>
                    <a:pt x="392" y="24"/>
                  </a:lnTo>
                  <a:cubicBezTo>
                    <a:pt x="385" y="9"/>
                    <a:pt x="370" y="0"/>
                    <a:pt x="353" y="0"/>
                  </a:cubicBezTo>
                  <a:cubicBezTo>
                    <a:pt x="336" y="0"/>
                    <a:pt x="321" y="9"/>
                    <a:pt x="314" y="24"/>
                  </a:cubicBezTo>
                  <a:lnTo>
                    <a:pt x="229" y="195"/>
                  </a:lnTo>
                  <a:lnTo>
                    <a:pt x="41" y="223"/>
                  </a:lnTo>
                  <a:cubicBezTo>
                    <a:pt x="24" y="225"/>
                    <a:pt x="10" y="237"/>
                    <a:pt x="5" y="252"/>
                  </a:cubicBezTo>
                  <a:cubicBezTo>
                    <a:pt x="0" y="268"/>
                    <a:pt x="4" y="286"/>
                    <a:pt x="16" y="297"/>
                  </a:cubicBezTo>
                  <a:lnTo>
                    <a:pt x="153" y="431"/>
                  </a:lnTo>
                  <a:lnTo>
                    <a:pt x="121" y="619"/>
                  </a:lnTo>
                  <a:cubicBezTo>
                    <a:pt x="118" y="635"/>
                    <a:pt x="125" y="652"/>
                    <a:pt x="138" y="661"/>
                  </a:cubicBezTo>
                  <a:cubicBezTo>
                    <a:pt x="146" y="667"/>
                    <a:pt x="155" y="670"/>
                    <a:pt x="164" y="670"/>
                  </a:cubicBezTo>
                  <a:cubicBezTo>
                    <a:pt x="171" y="670"/>
                    <a:pt x="178" y="668"/>
                    <a:pt x="184" y="665"/>
                  </a:cubicBezTo>
                  <a:lnTo>
                    <a:pt x="353" y="576"/>
                  </a:lnTo>
                  <a:lnTo>
                    <a:pt x="522" y="665"/>
                  </a:lnTo>
                  <a:cubicBezTo>
                    <a:pt x="528" y="668"/>
                    <a:pt x="535" y="670"/>
                    <a:pt x="542" y="670"/>
                  </a:cubicBezTo>
                  <a:cubicBezTo>
                    <a:pt x="551" y="670"/>
                    <a:pt x="560" y="667"/>
                    <a:pt x="568" y="661"/>
                  </a:cubicBezTo>
                  <a:cubicBezTo>
                    <a:pt x="582" y="652"/>
                    <a:pt x="588" y="635"/>
                    <a:pt x="586" y="619"/>
                  </a:cubicBezTo>
                  <a:lnTo>
                    <a:pt x="553" y="431"/>
                  </a:lnTo>
                  <a:lnTo>
                    <a:pt x="690" y="297"/>
                  </a:lnTo>
                  <a:cubicBezTo>
                    <a:pt x="702" y="286"/>
                    <a:pt x="706" y="268"/>
                    <a:pt x="701" y="252"/>
                  </a:cubicBezTo>
                  <a:close/>
                </a:path>
              </a:pathLst>
            </a:custGeom>
            <a:solidFill>
              <a:srgbClr val="F3C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72" name="Security"/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0371785" y="1298057"/>
            <a:ext cx="1587377" cy="1587377"/>
            <a:chOff x="2320926" y="3711575"/>
            <a:chExt cx="354013" cy="354013"/>
          </a:xfrm>
        </p:grpSpPr>
        <p:sp>
          <p:nvSpPr>
            <p:cNvPr id="73" name="Oval 430"/>
            <p:cNvSpPr>
              <a:spLocks noChangeArrowheads="1"/>
            </p:cNvSpPr>
            <p:nvPr/>
          </p:nvSpPr>
          <p:spPr bwMode="auto">
            <a:xfrm>
              <a:off x="2320926" y="3711575"/>
              <a:ext cx="354013" cy="354013"/>
            </a:xfrm>
            <a:prstGeom prst="ellipse">
              <a:avLst/>
            </a:prstGeom>
            <a:solidFill>
              <a:srgbClr val="C847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431"/>
            <p:cNvSpPr>
              <a:spLocks/>
            </p:cNvSpPr>
            <p:nvPr/>
          </p:nvSpPr>
          <p:spPr bwMode="auto">
            <a:xfrm>
              <a:off x="2398713" y="3789363"/>
              <a:ext cx="100013" cy="231775"/>
            </a:xfrm>
            <a:custGeom>
              <a:avLst/>
              <a:gdLst>
                <a:gd name="T0" fmla="*/ 300 w 300"/>
                <a:gd name="T1" fmla="*/ 700 h 700"/>
                <a:gd name="T2" fmla="*/ 0 w 300"/>
                <a:gd name="T3" fmla="*/ 342 h 700"/>
                <a:gd name="T4" fmla="*/ 0 w 300"/>
                <a:gd name="T5" fmla="*/ 115 h 700"/>
                <a:gd name="T6" fmla="*/ 300 w 300"/>
                <a:gd name="T7" fmla="*/ 0 h 700"/>
                <a:gd name="T8" fmla="*/ 300 w 300"/>
                <a:gd name="T9" fmla="*/ 70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700">
                  <a:moveTo>
                    <a:pt x="300" y="700"/>
                  </a:moveTo>
                  <a:cubicBezTo>
                    <a:pt x="300" y="700"/>
                    <a:pt x="0" y="587"/>
                    <a:pt x="0" y="342"/>
                  </a:cubicBezTo>
                  <a:lnTo>
                    <a:pt x="0" y="115"/>
                  </a:lnTo>
                  <a:cubicBezTo>
                    <a:pt x="0" y="115"/>
                    <a:pt x="97" y="0"/>
                    <a:pt x="300" y="0"/>
                  </a:cubicBezTo>
                  <a:lnTo>
                    <a:pt x="300" y="700"/>
                  </a:ln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432"/>
            <p:cNvSpPr>
              <a:spLocks/>
            </p:cNvSpPr>
            <p:nvPr/>
          </p:nvSpPr>
          <p:spPr bwMode="auto">
            <a:xfrm>
              <a:off x="2498726" y="3789363"/>
              <a:ext cx="98425" cy="231775"/>
            </a:xfrm>
            <a:custGeom>
              <a:avLst/>
              <a:gdLst>
                <a:gd name="T0" fmla="*/ 0 w 300"/>
                <a:gd name="T1" fmla="*/ 700 h 700"/>
                <a:gd name="T2" fmla="*/ 0 w 300"/>
                <a:gd name="T3" fmla="*/ 0 h 700"/>
                <a:gd name="T4" fmla="*/ 300 w 300"/>
                <a:gd name="T5" fmla="*/ 115 h 700"/>
                <a:gd name="T6" fmla="*/ 300 w 300"/>
                <a:gd name="T7" fmla="*/ 342 h 700"/>
                <a:gd name="T8" fmla="*/ 0 w 300"/>
                <a:gd name="T9" fmla="*/ 70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700">
                  <a:moveTo>
                    <a:pt x="0" y="700"/>
                  </a:moveTo>
                  <a:lnTo>
                    <a:pt x="0" y="0"/>
                  </a:lnTo>
                  <a:cubicBezTo>
                    <a:pt x="203" y="0"/>
                    <a:pt x="300" y="115"/>
                    <a:pt x="300" y="115"/>
                  </a:cubicBezTo>
                  <a:lnTo>
                    <a:pt x="300" y="342"/>
                  </a:lnTo>
                  <a:cubicBezTo>
                    <a:pt x="300" y="587"/>
                    <a:pt x="0" y="700"/>
                    <a:pt x="0" y="700"/>
                  </a:cubicBezTo>
                  <a:close/>
                </a:path>
              </a:pathLst>
            </a:custGeom>
            <a:solidFill>
              <a:srgbClr val="A43F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433"/>
            <p:cNvSpPr>
              <a:spLocks/>
            </p:cNvSpPr>
            <p:nvPr/>
          </p:nvSpPr>
          <p:spPr bwMode="auto">
            <a:xfrm>
              <a:off x="2398713" y="3778250"/>
              <a:ext cx="100013" cy="231775"/>
            </a:xfrm>
            <a:custGeom>
              <a:avLst/>
              <a:gdLst>
                <a:gd name="T0" fmla="*/ 300 w 300"/>
                <a:gd name="T1" fmla="*/ 700 h 700"/>
                <a:gd name="T2" fmla="*/ 0 w 300"/>
                <a:gd name="T3" fmla="*/ 342 h 700"/>
                <a:gd name="T4" fmla="*/ 0 w 300"/>
                <a:gd name="T5" fmla="*/ 115 h 700"/>
                <a:gd name="T6" fmla="*/ 300 w 300"/>
                <a:gd name="T7" fmla="*/ 0 h 700"/>
                <a:gd name="T8" fmla="*/ 300 w 300"/>
                <a:gd name="T9" fmla="*/ 70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700">
                  <a:moveTo>
                    <a:pt x="300" y="700"/>
                  </a:moveTo>
                  <a:cubicBezTo>
                    <a:pt x="300" y="700"/>
                    <a:pt x="0" y="586"/>
                    <a:pt x="0" y="342"/>
                  </a:cubicBezTo>
                  <a:lnTo>
                    <a:pt x="0" y="115"/>
                  </a:lnTo>
                  <a:cubicBezTo>
                    <a:pt x="0" y="115"/>
                    <a:pt x="97" y="0"/>
                    <a:pt x="300" y="0"/>
                  </a:cubicBezTo>
                  <a:lnTo>
                    <a:pt x="300" y="700"/>
                  </a:lnTo>
                  <a:close/>
                </a:path>
              </a:pathLst>
            </a:custGeom>
            <a:solidFill>
              <a:srgbClr val="F3CC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434"/>
            <p:cNvSpPr>
              <a:spLocks/>
            </p:cNvSpPr>
            <p:nvPr/>
          </p:nvSpPr>
          <p:spPr bwMode="auto">
            <a:xfrm>
              <a:off x="2498726" y="3778250"/>
              <a:ext cx="98425" cy="231775"/>
            </a:xfrm>
            <a:custGeom>
              <a:avLst/>
              <a:gdLst>
                <a:gd name="T0" fmla="*/ 0 w 300"/>
                <a:gd name="T1" fmla="*/ 700 h 700"/>
                <a:gd name="T2" fmla="*/ 300 w 300"/>
                <a:gd name="T3" fmla="*/ 342 h 700"/>
                <a:gd name="T4" fmla="*/ 300 w 300"/>
                <a:gd name="T5" fmla="*/ 115 h 700"/>
                <a:gd name="T6" fmla="*/ 0 w 300"/>
                <a:gd name="T7" fmla="*/ 0 h 700"/>
                <a:gd name="T8" fmla="*/ 0 w 300"/>
                <a:gd name="T9" fmla="*/ 70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0" h="700">
                  <a:moveTo>
                    <a:pt x="0" y="700"/>
                  </a:moveTo>
                  <a:cubicBezTo>
                    <a:pt x="0" y="700"/>
                    <a:pt x="300" y="586"/>
                    <a:pt x="300" y="342"/>
                  </a:cubicBezTo>
                  <a:lnTo>
                    <a:pt x="300" y="115"/>
                  </a:lnTo>
                  <a:cubicBezTo>
                    <a:pt x="300" y="115"/>
                    <a:pt x="203" y="0"/>
                    <a:pt x="0" y="0"/>
                  </a:cubicBezTo>
                  <a:lnTo>
                    <a:pt x="0" y="700"/>
                  </a:lnTo>
                  <a:close/>
                </a:path>
              </a:pathLst>
            </a:custGeom>
            <a:solidFill>
              <a:srgbClr val="E08E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89276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3214" y="365125"/>
            <a:ext cx="9850003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kk-KZ" b="1" i="1" dirty="0">
                <a:solidFill>
                  <a:schemeClr val="bg1"/>
                </a:solidFill>
              </a:rPr>
              <a:t>Обеспечение активного участия студентов в органах студенческого самоуправления</a:t>
            </a:r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6" name="Institution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98443" y="365125"/>
            <a:ext cx="1267843" cy="1267843"/>
            <a:chOff x="4097338" y="5499100"/>
            <a:chExt cx="823913" cy="823913"/>
          </a:xfrm>
        </p:grpSpPr>
        <p:sp>
          <p:nvSpPr>
            <p:cNvPr id="7" name="Oval 1301"/>
            <p:cNvSpPr>
              <a:spLocks noChangeArrowheads="1"/>
            </p:cNvSpPr>
            <p:nvPr/>
          </p:nvSpPr>
          <p:spPr bwMode="auto">
            <a:xfrm>
              <a:off x="4097338" y="5499100"/>
              <a:ext cx="823913" cy="823913"/>
            </a:xfrm>
            <a:prstGeom prst="ellipse">
              <a:avLst/>
            </a:prstGeom>
            <a:solidFill>
              <a:srgbClr val="3B53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1324"/>
            <p:cNvSpPr>
              <a:spLocks/>
            </p:cNvSpPr>
            <p:nvPr/>
          </p:nvSpPr>
          <p:spPr bwMode="auto">
            <a:xfrm>
              <a:off x="4291013" y="5745162"/>
              <a:ext cx="627063" cy="539750"/>
            </a:xfrm>
            <a:custGeom>
              <a:avLst/>
              <a:gdLst>
                <a:gd name="T0" fmla="*/ 858 w 1459"/>
                <a:gd name="T1" fmla="*/ 0 h 1255"/>
                <a:gd name="T2" fmla="*/ 402 w 1459"/>
                <a:gd name="T3" fmla="*/ 156 h 1255"/>
                <a:gd name="T4" fmla="*/ 423 w 1459"/>
                <a:gd name="T5" fmla="*/ 548 h 1255"/>
                <a:gd name="T6" fmla="*/ 0 w 1459"/>
                <a:gd name="T7" fmla="*/ 732 h 1255"/>
                <a:gd name="T8" fmla="*/ 880 w 1459"/>
                <a:gd name="T9" fmla="*/ 1255 h 1255"/>
                <a:gd name="T10" fmla="*/ 1459 w 1459"/>
                <a:gd name="T11" fmla="*/ 489 h 1255"/>
                <a:gd name="T12" fmla="*/ 858 w 1459"/>
                <a:gd name="T13" fmla="*/ 0 h 1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9" h="1255">
                  <a:moveTo>
                    <a:pt x="858" y="0"/>
                  </a:moveTo>
                  <a:lnTo>
                    <a:pt x="402" y="156"/>
                  </a:lnTo>
                  <a:lnTo>
                    <a:pt x="423" y="548"/>
                  </a:lnTo>
                  <a:lnTo>
                    <a:pt x="0" y="732"/>
                  </a:lnTo>
                  <a:lnTo>
                    <a:pt x="880" y="1255"/>
                  </a:lnTo>
                  <a:cubicBezTo>
                    <a:pt x="1192" y="1150"/>
                    <a:pt x="1423" y="826"/>
                    <a:pt x="1459" y="489"/>
                  </a:cubicBezTo>
                  <a:lnTo>
                    <a:pt x="858" y="0"/>
                  </a:lnTo>
                </a:path>
              </a:pathLst>
            </a:custGeom>
            <a:solidFill>
              <a:srgbClr val="1F2D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Rectangle 1640"/>
            <p:cNvSpPr>
              <a:spLocks noChangeArrowheads="1"/>
            </p:cNvSpPr>
            <p:nvPr/>
          </p:nvSpPr>
          <p:spPr bwMode="auto">
            <a:xfrm>
              <a:off x="4284663" y="6016625"/>
              <a:ext cx="441325" cy="666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1641"/>
            <p:cNvSpPr>
              <a:spLocks/>
            </p:cNvSpPr>
            <p:nvPr/>
          </p:nvSpPr>
          <p:spPr bwMode="auto">
            <a:xfrm>
              <a:off x="4286250" y="5637212"/>
              <a:ext cx="431800" cy="209550"/>
            </a:xfrm>
            <a:custGeom>
              <a:avLst/>
              <a:gdLst>
                <a:gd name="T0" fmla="*/ 272 w 272"/>
                <a:gd name="T1" fmla="*/ 105 h 132"/>
                <a:gd name="T2" fmla="*/ 134 w 272"/>
                <a:gd name="T3" fmla="*/ 0 h 132"/>
                <a:gd name="T4" fmla="*/ 0 w 272"/>
                <a:gd name="T5" fmla="*/ 105 h 132"/>
                <a:gd name="T6" fmla="*/ 0 w 272"/>
                <a:gd name="T7" fmla="*/ 132 h 132"/>
                <a:gd name="T8" fmla="*/ 272 w 272"/>
                <a:gd name="T9" fmla="*/ 132 h 132"/>
                <a:gd name="T10" fmla="*/ 272 w 272"/>
                <a:gd name="T11" fmla="*/ 105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2" h="132">
                  <a:moveTo>
                    <a:pt x="272" y="105"/>
                  </a:moveTo>
                  <a:lnTo>
                    <a:pt x="134" y="0"/>
                  </a:lnTo>
                  <a:lnTo>
                    <a:pt x="0" y="105"/>
                  </a:lnTo>
                  <a:lnTo>
                    <a:pt x="0" y="132"/>
                  </a:lnTo>
                  <a:lnTo>
                    <a:pt x="272" y="132"/>
                  </a:lnTo>
                  <a:lnTo>
                    <a:pt x="272" y="10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Rectangle 1642"/>
            <p:cNvSpPr>
              <a:spLocks noChangeArrowheads="1"/>
            </p:cNvSpPr>
            <p:nvPr/>
          </p:nvSpPr>
          <p:spPr bwMode="auto">
            <a:xfrm>
              <a:off x="4321175" y="5846762"/>
              <a:ext cx="41275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Rectangle 1643"/>
            <p:cNvSpPr>
              <a:spLocks noChangeArrowheads="1"/>
            </p:cNvSpPr>
            <p:nvPr/>
          </p:nvSpPr>
          <p:spPr bwMode="auto">
            <a:xfrm>
              <a:off x="4306888" y="5991225"/>
              <a:ext cx="69850" cy="365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ectangle 1644"/>
            <p:cNvSpPr>
              <a:spLocks noChangeArrowheads="1"/>
            </p:cNvSpPr>
            <p:nvPr/>
          </p:nvSpPr>
          <p:spPr bwMode="auto">
            <a:xfrm>
              <a:off x="4314825" y="5846762"/>
              <a:ext cx="53975" cy="285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Rectangle 1645"/>
            <p:cNvSpPr>
              <a:spLocks noChangeArrowheads="1"/>
            </p:cNvSpPr>
            <p:nvPr/>
          </p:nvSpPr>
          <p:spPr bwMode="auto">
            <a:xfrm>
              <a:off x="4430713" y="5846762"/>
              <a:ext cx="39688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Rectangle 1646"/>
            <p:cNvSpPr>
              <a:spLocks noChangeArrowheads="1"/>
            </p:cNvSpPr>
            <p:nvPr/>
          </p:nvSpPr>
          <p:spPr bwMode="auto">
            <a:xfrm>
              <a:off x="4416425" y="5991225"/>
              <a:ext cx="68263" cy="365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Rectangle 1647"/>
            <p:cNvSpPr>
              <a:spLocks noChangeArrowheads="1"/>
            </p:cNvSpPr>
            <p:nvPr/>
          </p:nvSpPr>
          <p:spPr bwMode="auto">
            <a:xfrm>
              <a:off x="4424363" y="5846762"/>
              <a:ext cx="52388" cy="285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Rectangle 1648"/>
            <p:cNvSpPr>
              <a:spLocks noChangeArrowheads="1"/>
            </p:cNvSpPr>
            <p:nvPr/>
          </p:nvSpPr>
          <p:spPr bwMode="auto">
            <a:xfrm>
              <a:off x="4541838" y="5846762"/>
              <a:ext cx="41275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Rectangle 1649"/>
            <p:cNvSpPr>
              <a:spLocks noChangeArrowheads="1"/>
            </p:cNvSpPr>
            <p:nvPr/>
          </p:nvSpPr>
          <p:spPr bwMode="auto">
            <a:xfrm>
              <a:off x="4527550" y="5991225"/>
              <a:ext cx="69850" cy="365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Rectangle 1650"/>
            <p:cNvSpPr>
              <a:spLocks noChangeArrowheads="1"/>
            </p:cNvSpPr>
            <p:nvPr/>
          </p:nvSpPr>
          <p:spPr bwMode="auto">
            <a:xfrm>
              <a:off x="4535488" y="5846762"/>
              <a:ext cx="53975" cy="285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Rectangle 1651"/>
            <p:cNvSpPr>
              <a:spLocks noChangeArrowheads="1"/>
            </p:cNvSpPr>
            <p:nvPr/>
          </p:nvSpPr>
          <p:spPr bwMode="auto">
            <a:xfrm>
              <a:off x="4649788" y="5846762"/>
              <a:ext cx="41275" cy="1809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1652"/>
            <p:cNvSpPr>
              <a:spLocks noChangeArrowheads="1"/>
            </p:cNvSpPr>
            <p:nvPr/>
          </p:nvSpPr>
          <p:spPr bwMode="auto">
            <a:xfrm>
              <a:off x="4635500" y="5991225"/>
              <a:ext cx="69850" cy="365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ctangle 1653"/>
            <p:cNvSpPr>
              <a:spLocks noChangeArrowheads="1"/>
            </p:cNvSpPr>
            <p:nvPr/>
          </p:nvSpPr>
          <p:spPr bwMode="auto">
            <a:xfrm>
              <a:off x="4643438" y="5846762"/>
              <a:ext cx="53975" cy="2857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654"/>
            <p:cNvSpPr>
              <a:spLocks/>
            </p:cNvSpPr>
            <p:nvPr/>
          </p:nvSpPr>
          <p:spPr bwMode="auto">
            <a:xfrm>
              <a:off x="4324350" y="5678487"/>
              <a:ext cx="354013" cy="141288"/>
            </a:xfrm>
            <a:custGeom>
              <a:avLst/>
              <a:gdLst>
                <a:gd name="T0" fmla="*/ 223 w 223"/>
                <a:gd name="T1" fmla="*/ 82 h 89"/>
                <a:gd name="T2" fmla="*/ 110 w 223"/>
                <a:gd name="T3" fmla="*/ 0 h 89"/>
                <a:gd name="T4" fmla="*/ 0 w 223"/>
                <a:gd name="T5" fmla="*/ 82 h 89"/>
                <a:gd name="T6" fmla="*/ 0 w 223"/>
                <a:gd name="T7" fmla="*/ 89 h 89"/>
                <a:gd name="T8" fmla="*/ 223 w 223"/>
                <a:gd name="T9" fmla="*/ 89 h 89"/>
                <a:gd name="T10" fmla="*/ 223 w 223"/>
                <a:gd name="T11" fmla="*/ 82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3" h="89">
                  <a:moveTo>
                    <a:pt x="223" y="82"/>
                  </a:moveTo>
                  <a:lnTo>
                    <a:pt x="110" y="0"/>
                  </a:lnTo>
                  <a:lnTo>
                    <a:pt x="0" y="82"/>
                  </a:lnTo>
                  <a:lnTo>
                    <a:pt x="0" y="89"/>
                  </a:lnTo>
                  <a:lnTo>
                    <a:pt x="223" y="89"/>
                  </a:lnTo>
                  <a:lnTo>
                    <a:pt x="223" y="82"/>
                  </a:lnTo>
                  <a:close/>
                </a:path>
              </a:pathLst>
            </a:custGeom>
            <a:solidFill>
              <a:srgbClr val="EDEE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Rectangle 1655"/>
            <p:cNvSpPr>
              <a:spLocks noChangeArrowheads="1"/>
            </p:cNvSpPr>
            <p:nvPr/>
          </p:nvSpPr>
          <p:spPr bwMode="auto">
            <a:xfrm>
              <a:off x="4284663" y="6054725"/>
              <a:ext cx="441325" cy="25400"/>
            </a:xfrm>
            <a:prstGeom prst="rect">
              <a:avLst/>
            </a:prstGeom>
            <a:solidFill>
              <a:srgbClr val="DCE8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443" y="1955730"/>
            <a:ext cx="5657522" cy="4118963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749" y="1952074"/>
            <a:ext cx="5738467" cy="4118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563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28700" y="276536"/>
            <a:ext cx="10134600" cy="1337055"/>
          </a:xfrm>
        </p:spPr>
        <p:txBody>
          <a:bodyPr>
            <a:normAutofit/>
          </a:bodyPr>
          <a:lstStyle/>
          <a:p>
            <a:pPr algn="ctr"/>
            <a:r>
              <a:rPr lang="kk-KZ" b="1" i="1" dirty="0">
                <a:solidFill>
                  <a:schemeClr val="bg1"/>
                </a:solidFill>
              </a:rPr>
              <a:t>Студенческий строительный отряд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86384" y="1335295"/>
            <a:ext cx="10991088" cy="2428323"/>
          </a:xfrm>
        </p:spPr>
        <p:txBody>
          <a:bodyPr>
            <a:normAutofit fontScale="77500" lnSpcReduction="20000"/>
          </a:bodyPr>
          <a:lstStyle/>
          <a:p>
            <a:pPr marL="0" indent="0" algn="just">
              <a:buNone/>
            </a:pPr>
            <a:r>
              <a:rPr lang="kk-KZ" dirty="0"/>
              <a:t> </a:t>
            </a:r>
            <a:r>
              <a:rPr lang="kk-KZ" dirty="0">
                <a:solidFill>
                  <a:schemeClr val="bg1"/>
                </a:solidFill>
              </a:rPr>
              <a:t>В 2020 учебном году  Студенческий строительный отряд  функционировал с 04.06.2020 г. по 31.07.2020 г. Общее количество членов Отряда составила 110 человек. Отряд осуществлял свою деятельность путем благоустройства территории Университета, уборки помещений общежитий Университета, подсобных и вспомогательных работ. Согласно выписки протокола Экономического Совета каждому члену Отряда установлено материальное вознаграждение в размере 42500 тенге  и  оплата за питание в размере 1000 тенге в день. Дополнительно членам ССО предоставляется бесплатное проживание в общежитии Университета во время работы. В качестве поощрения было предоставлено место в общежитие вне очереди  на платной основе в новом учебном году. </a:t>
            </a:r>
            <a:r>
              <a:rPr lang="ru-RU" dirty="0">
                <a:solidFill>
                  <a:srgbClr val="00B0F0"/>
                </a:solidFill>
              </a:rPr>
              <a:t> </a:t>
            </a:r>
          </a:p>
        </p:txBody>
      </p:sp>
      <p:grpSp>
        <p:nvGrpSpPr>
          <p:cNvPr id="7" name="Building_house2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0768990" y="226535"/>
            <a:ext cx="1172667" cy="1158762"/>
            <a:chOff x="5678488" y="1611312"/>
            <a:chExt cx="803276" cy="793751"/>
          </a:xfrm>
          <a:solidFill>
            <a:srgbClr val="0070C0"/>
          </a:solidFill>
        </p:grpSpPr>
        <p:sp>
          <p:nvSpPr>
            <p:cNvPr id="8" name="Freeform 53"/>
            <p:cNvSpPr>
              <a:spLocks noEditPoints="1"/>
            </p:cNvSpPr>
            <p:nvPr/>
          </p:nvSpPr>
          <p:spPr bwMode="auto">
            <a:xfrm>
              <a:off x="5678488" y="1611312"/>
              <a:ext cx="492125" cy="674688"/>
            </a:xfrm>
            <a:custGeom>
              <a:avLst/>
              <a:gdLst>
                <a:gd name="T0" fmla="*/ 296 w 645"/>
                <a:gd name="T1" fmla="*/ 260 h 887"/>
                <a:gd name="T2" fmla="*/ 411 w 645"/>
                <a:gd name="T3" fmla="*/ 341 h 887"/>
                <a:gd name="T4" fmla="*/ 188 w 645"/>
                <a:gd name="T5" fmla="*/ 341 h 887"/>
                <a:gd name="T6" fmla="*/ 296 w 645"/>
                <a:gd name="T7" fmla="*/ 260 h 887"/>
                <a:gd name="T8" fmla="*/ 481 w 645"/>
                <a:gd name="T9" fmla="*/ 120 h 887"/>
                <a:gd name="T10" fmla="*/ 481 w 645"/>
                <a:gd name="T11" fmla="*/ 321 h 887"/>
                <a:gd name="T12" fmla="*/ 345 w 645"/>
                <a:gd name="T13" fmla="*/ 223 h 887"/>
                <a:gd name="T14" fmla="*/ 481 w 645"/>
                <a:gd name="T15" fmla="*/ 120 h 887"/>
                <a:gd name="T16" fmla="*/ 387 w 645"/>
                <a:gd name="T17" fmla="*/ 636 h 887"/>
                <a:gd name="T18" fmla="*/ 221 w 645"/>
                <a:gd name="T19" fmla="*/ 636 h 887"/>
                <a:gd name="T20" fmla="*/ 221 w 645"/>
                <a:gd name="T21" fmla="*/ 486 h 887"/>
                <a:gd name="T22" fmla="*/ 387 w 645"/>
                <a:gd name="T23" fmla="*/ 486 h 887"/>
                <a:gd name="T24" fmla="*/ 387 w 645"/>
                <a:gd name="T25" fmla="*/ 636 h 887"/>
                <a:gd name="T26" fmla="*/ 48 w 645"/>
                <a:gd name="T27" fmla="*/ 448 h 887"/>
                <a:gd name="T28" fmla="*/ 101 w 645"/>
                <a:gd name="T29" fmla="*/ 408 h 887"/>
                <a:gd name="T30" fmla="*/ 101 w 645"/>
                <a:gd name="T31" fmla="*/ 829 h 887"/>
                <a:gd name="T32" fmla="*/ 63 w 645"/>
                <a:gd name="T33" fmla="*/ 829 h 887"/>
                <a:gd name="T34" fmla="*/ 63 w 645"/>
                <a:gd name="T35" fmla="*/ 887 h 887"/>
                <a:gd name="T36" fmla="*/ 521 w 645"/>
                <a:gd name="T37" fmla="*/ 887 h 887"/>
                <a:gd name="T38" fmla="*/ 467 w 645"/>
                <a:gd name="T39" fmla="*/ 804 h 887"/>
                <a:gd name="T40" fmla="*/ 490 w 645"/>
                <a:gd name="T41" fmla="*/ 648 h 887"/>
                <a:gd name="T42" fmla="*/ 501 w 645"/>
                <a:gd name="T43" fmla="*/ 606 h 887"/>
                <a:gd name="T44" fmla="*/ 501 w 645"/>
                <a:gd name="T45" fmla="*/ 399 h 887"/>
                <a:gd name="T46" fmla="*/ 645 w 645"/>
                <a:gd name="T47" fmla="*/ 399 h 887"/>
                <a:gd name="T48" fmla="*/ 612 w 645"/>
                <a:gd name="T49" fmla="*/ 268 h 887"/>
                <a:gd name="T50" fmla="*/ 539 w 645"/>
                <a:gd name="T51" fmla="*/ 321 h 887"/>
                <a:gd name="T52" fmla="*/ 539 w 645"/>
                <a:gd name="T53" fmla="*/ 122 h 887"/>
                <a:gd name="T54" fmla="*/ 597 w 645"/>
                <a:gd name="T55" fmla="*/ 165 h 887"/>
                <a:gd name="T56" fmla="*/ 622 w 645"/>
                <a:gd name="T57" fmla="*/ 82 h 887"/>
                <a:gd name="T58" fmla="*/ 508 w 645"/>
                <a:gd name="T59" fmla="*/ 0 h 887"/>
                <a:gd name="T60" fmla="*/ 0 w 645"/>
                <a:gd name="T61" fmla="*/ 384 h 887"/>
                <a:gd name="T62" fmla="*/ 48 w 645"/>
                <a:gd name="T63" fmla="*/ 448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45" h="887">
                  <a:moveTo>
                    <a:pt x="296" y="260"/>
                  </a:moveTo>
                  <a:lnTo>
                    <a:pt x="411" y="341"/>
                  </a:lnTo>
                  <a:lnTo>
                    <a:pt x="188" y="341"/>
                  </a:lnTo>
                  <a:lnTo>
                    <a:pt x="296" y="260"/>
                  </a:lnTo>
                  <a:close/>
                  <a:moveTo>
                    <a:pt x="481" y="120"/>
                  </a:moveTo>
                  <a:lnTo>
                    <a:pt x="481" y="321"/>
                  </a:lnTo>
                  <a:lnTo>
                    <a:pt x="345" y="223"/>
                  </a:lnTo>
                  <a:lnTo>
                    <a:pt x="481" y="120"/>
                  </a:lnTo>
                  <a:close/>
                  <a:moveTo>
                    <a:pt x="387" y="636"/>
                  </a:moveTo>
                  <a:lnTo>
                    <a:pt x="221" y="636"/>
                  </a:lnTo>
                  <a:lnTo>
                    <a:pt x="221" y="486"/>
                  </a:lnTo>
                  <a:lnTo>
                    <a:pt x="387" y="486"/>
                  </a:lnTo>
                  <a:lnTo>
                    <a:pt x="387" y="636"/>
                  </a:lnTo>
                  <a:close/>
                  <a:moveTo>
                    <a:pt x="48" y="448"/>
                  </a:moveTo>
                  <a:lnTo>
                    <a:pt x="101" y="408"/>
                  </a:lnTo>
                  <a:lnTo>
                    <a:pt x="101" y="829"/>
                  </a:lnTo>
                  <a:lnTo>
                    <a:pt x="63" y="829"/>
                  </a:lnTo>
                  <a:lnTo>
                    <a:pt x="63" y="887"/>
                  </a:lnTo>
                  <a:lnTo>
                    <a:pt x="521" y="887"/>
                  </a:lnTo>
                  <a:cubicBezTo>
                    <a:pt x="489" y="870"/>
                    <a:pt x="468" y="839"/>
                    <a:pt x="467" y="804"/>
                  </a:cubicBezTo>
                  <a:cubicBezTo>
                    <a:pt x="465" y="742"/>
                    <a:pt x="480" y="685"/>
                    <a:pt x="490" y="648"/>
                  </a:cubicBezTo>
                  <a:cubicBezTo>
                    <a:pt x="493" y="634"/>
                    <a:pt x="497" y="620"/>
                    <a:pt x="501" y="606"/>
                  </a:cubicBezTo>
                  <a:lnTo>
                    <a:pt x="501" y="399"/>
                  </a:lnTo>
                  <a:lnTo>
                    <a:pt x="645" y="399"/>
                  </a:lnTo>
                  <a:cubicBezTo>
                    <a:pt x="617" y="361"/>
                    <a:pt x="602" y="305"/>
                    <a:pt x="612" y="268"/>
                  </a:cubicBezTo>
                  <a:lnTo>
                    <a:pt x="539" y="321"/>
                  </a:lnTo>
                  <a:lnTo>
                    <a:pt x="539" y="122"/>
                  </a:lnTo>
                  <a:lnTo>
                    <a:pt x="597" y="165"/>
                  </a:lnTo>
                  <a:cubicBezTo>
                    <a:pt x="599" y="136"/>
                    <a:pt x="608" y="108"/>
                    <a:pt x="622" y="82"/>
                  </a:cubicBezTo>
                  <a:lnTo>
                    <a:pt x="508" y="0"/>
                  </a:lnTo>
                  <a:lnTo>
                    <a:pt x="0" y="384"/>
                  </a:lnTo>
                  <a:lnTo>
                    <a:pt x="48" y="448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54"/>
            <p:cNvSpPr>
              <a:spLocks/>
            </p:cNvSpPr>
            <p:nvPr/>
          </p:nvSpPr>
          <p:spPr bwMode="auto">
            <a:xfrm>
              <a:off x="6070601" y="1962150"/>
              <a:ext cx="411163" cy="442913"/>
            </a:xfrm>
            <a:custGeom>
              <a:avLst/>
              <a:gdLst>
                <a:gd name="T0" fmla="*/ 538 w 539"/>
                <a:gd name="T1" fmla="*/ 454 h 581"/>
                <a:gd name="T2" fmla="*/ 539 w 539"/>
                <a:gd name="T3" fmla="*/ 200 h 581"/>
                <a:gd name="T4" fmla="*/ 376 w 539"/>
                <a:gd name="T5" fmla="*/ 0 h 581"/>
                <a:gd name="T6" fmla="*/ 199 w 539"/>
                <a:gd name="T7" fmla="*/ 0 h 581"/>
                <a:gd name="T8" fmla="*/ 23 w 539"/>
                <a:gd name="T9" fmla="*/ 200 h 581"/>
                <a:gd name="T10" fmla="*/ 2 w 539"/>
                <a:gd name="T11" fmla="*/ 341 h 581"/>
                <a:gd name="T12" fmla="*/ 83 w 539"/>
                <a:gd name="T13" fmla="*/ 389 h 581"/>
                <a:gd name="T14" fmla="*/ 313 w 539"/>
                <a:gd name="T15" fmla="*/ 341 h 581"/>
                <a:gd name="T16" fmla="*/ 349 w 539"/>
                <a:gd name="T17" fmla="*/ 281 h 581"/>
                <a:gd name="T18" fmla="*/ 289 w 539"/>
                <a:gd name="T19" fmla="*/ 245 h 581"/>
                <a:gd name="T20" fmla="*/ 146 w 539"/>
                <a:gd name="T21" fmla="*/ 268 h 581"/>
                <a:gd name="T22" fmla="*/ 140 w 539"/>
                <a:gd name="T23" fmla="*/ 228 h 581"/>
                <a:gd name="T24" fmla="*/ 259 w 539"/>
                <a:gd name="T25" fmla="*/ 209 h 581"/>
                <a:gd name="T26" fmla="*/ 235 w 539"/>
                <a:gd name="T27" fmla="*/ 98 h 581"/>
                <a:gd name="T28" fmla="*/ 306 w 539"/>
                <a:gd name="T29" fmla="*/ 84 h 581"/>
                <a:gd name="T30" fmla="*/ 333 w 539"/>
                <a:gd name="T31" fmla="*/ 210 h 581"/>
                <a:gd name="T32" fmla="*/ 388 w 539"/>
                <a:gd name="T33" fmla="*/ 271 h 581"/>
                <a:gd name="T34" fmla="*/ 363 w 539"/>
                <a:gd name="T35" fmla="*/ 355 h 581"/>
                <a:gd name="T36" fmla="*/ 392 w 539"/>
                <a:gd name="T37" fmla="*/ 491 h 581"/>
                <a:gd name="T38" fmla="*/ 322 w 539"/>
                <a:gd name="T39" fmla="*/ 506 h 581"/>
                <a:gd name="T40" fmla="*/ 296 w 539"/>
                <a:gd name="T41" fmla="*/ 385 h 581"/>
                <a:gd name="T42" fmla="*/ 115 w 539"/>
                <a:gd name="T43" fmla="*/ 423 h 581"/>
                <a:gd name="T44" fmla="*/ 115 w 539"/>
                <a:gd name="T45" fmla="*/ 581 h 581"/>
                <a:gd name="T46" fmla="*/ 458 w 539"/>
                <a:gd name="T47" fmla="*/ 581 h 581"/>
                <a:gd name="T48" fmla="*/ 459 w 539"/>
                <a:gd name="T49" fmla="*/ 530 h 581"/>
                <a:gd name="T50" fmla="*/ 538 w 539"/>
                <a:gd name="T51" fmla="*/ 454 h 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39" h="581">
                  <a:moveTo>
                    <a:pt x="538" y="454"/>
                  </a:moveTo>
                  <a:lnTo>
                    <a:pt x="539" y="200"/>
                  </a:lnTo>
                  <a:cubicBezTo>
                    <a:pt x="539" y="63"/>
                    <a:pt x="487" y="8"/>
                    <a:pt x="376" y="0"/>
                  </a:cubicBezTo>
                  <a:lnTo>
                    <a:pt x="199" y="0"/>
                  </a:lnTo>
                  <a:cubicBezTo>
                    <a:pt x="87" y="8"/>
                    <a:pt x="57" y="69"/>
                    <a:pt x="23" y="200"/>
                  </a:cubicBezTo>
                  <a:cubicBezTo>
                    <a:pt x="13" y="237"/>
                    <a:pt x="0" y="288"/>
                    <a:pt x="2" y="341"/>
                  </a:cubicBezTo>
                  <a:cubicBezTo>
                    <a:pt x="4" y="381"/>
                    <a:pt x="50" y="396"/>
                    <a:pt x="83" y="389"/>
                  </a:cubicBezTo>
                  <a:cubicBezTo>
                    <a:pt x="137" y="378"/>
                    <a:pt x="313" y="341"/>
                    <a:pt x="313" y="341"/>
                  </a:cubicBezTo>
                  <a:cubicBezTo>
                    <a:pt x="340" y="332"/>
                    <a:pt x="355" y="306"/>
                    <a:pt x="349" y="281"/>
                  </a:cubicBezTo>
                  <a:cubicBezTo>
                    <a:pt x="342" y="248"/>
                    <a:pt x="310" y="241"/>
                    <a:pt x="289" y="245"/>
                  </a:cubicBezTo>
                  <a:lnTo>
                    <a:pt x="146" y="268"/>
                  </a:lnTo>
                  <a:lnTo>
                    <a:pt x="140" y="228"/>
                  </a:lnTo>
                  <a:lnTo>
                    <a:pt x="259" y="209"/>
                  </a:lnTo>
                  <a:lnTo>
                    <a:pt x="235" y="98"/>
                  </a:lnTo>
                  <a:lnTo>
                    <a:pt x="306" y="84"/>
                  </a:lnTo>
                  <a:lnTo>
                    <a:pt x="333" y="210"/>
                  </a:lnTo>
                  <a:cubicBezTo>
                    <a:pt x="359" y="220"/>
                    <a:pt x="380" y="243"/>
                    <a:pt x="388" y="271"/>
                  </a:cubicBezTo>
                  <a:cubicBezTo>
                    <a:pt x="395" y="302"/>
                    <a:pt x="385" y="333"/>
                    <a:pt x="363" y="355"/>
                  </a:cubicBezTo>
                  <a:lnTo>
                    <a:pt x="392" y="491"/>
                  </a:lnTo>
                  <a:lnTo>
                    <a:pt x="322" y="506"/>
                  </a:lnTo>
                  <a:lnTo>
                    <a:pt x="296" y="385"/>
                  </a:lnTo>
                  <a:lnTo>
                    <a:pt x="115" y="423"/>
                  </a:lnTo>
                  <a:lnTo>
                    <a:pt x="115" y="581"/>
                  </a:lnTo>
                  <a:lnTo>
                    <a:pt x="458" y="581"/>
                  </a:lnTo>
                  <a:lnTo>
                    <a:pt x="459" y="530"/>
                  </a:lnTo>
                  <a:cubicBezTo>
                    <a:pt x="516" y="530"/>
                    <a:pt x="538" y="496"/>
                    <a:pt x="538" y="45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55"/>
            <p:cNvSpPr>
              <a:spLocks noEditPoints="1"/>
            </p:cNvSpPr>
            <p:nvPr/>
          </p:nvSpPr>
          <p:spPr bwMode="auto">
            <a:xfrm>
              <a:off x="6148388" y="1628775"/>
              <a:ext cx="284163" cy="309563"/>
            </a:xfrm>
            <a:custGeom>
              <a:avLst/>
              <a:gdLst>
                <a:gd name="T0" fmla="*/ 310 w 373"/>
                <a:gd name="T1" fmla="*/ 176 h 405"/>
                <a:gd name="T2" fmla="*/ 187 w 373"/>
                <a:gd name="T3" fmla="*/ 168 h 405"/>
                <a:gd name="T4" fmla="*/ 187 w 373"/>
                <a:gd name="T5" fmla="*/ 168 h 405"/>
                <a:gd name="T6" fmla="*/ 63 w 373"/>
                <a:gd name="T7" fmla="*/ 176 h 405"/>
                <a:gd name="T8" fmla="*/ 63 w 373"/>
                <a:gd name="T9" fmla="*/ 176 h 405"/>
                <a:gd name="T10" fmla="*/ 63 w 373"/>
                <a:gd name="T11" fmla="*/ 151 h 405"/>
                <a:gd name="T12" fmla="*/ 115 w 373"/>
                <a:gd name="T13" fmla="*/ 58 h 405"/>
                <a:gd name="T14" fmla="*/ 102 w 373"/>
                <a:gd name="T15" fmla="*/ 149 h 405"/>
                <a:gd name="T16" fmla="*/ 138 w 373"/>
                <a:gd name="T17" fmla="*/ 146 h 405"/>
                <a:gd name="T18" fmla="*/ 148 w 373"/>
                <a:gd name="T19" fmla="*/ 35 h 405"/>
                <a:gd name="T20" fmla="*/ 226 w 373"/>
                <a:gd name="T21" fmla="*/ 35 h 405"/>
                <a:gd name="T22" fmla="*/ 235 w 373"/>
                <a:gd name="T23" fmla="*/ 146 h 405"/>
                <a:gd name="T24" fmla="*/ 272 w 373"/>
                <a:gd name="T25" fmla="*/ 149 h 405"/>
                <a:gd name="T26" fmla="*/ 259 w 373"/>
                <a:gd name="T27" fmla="*/ 58 h 405"/>
                <a:gd name="T28" fmla="*/ 310 w 373"/>
                <a:gd name="T29" fmla="*/ 151 h 405"/>
                <a:gd name="T30" fmla="*/ 310 w 373"/>
                <a:gd name="T31" fmla="*/ 176 h 405"/>
                <a:gd name="T32" fmla="*/ 257 w 373"/>
                <a:gd name="T33" fmla="*/ 18 h 405"/>
                <a:gd name="T34" fmla="*/ 229 w 373"/>
                <a:gd name="T35" fmla="*/ 0 h 405"/>
                <a:gd name="T36" fmla="*/ 145 w 373"/>
                <a:gd name="T37" fmla="*/ 0 h 405"/>
                <a:gd name="T38" fmla="*/ 116 w 373"/>
                <a:gd name="T39" fmla="*/ 18 h 405"/>
                <a:gd name="T40" fmla="*/ 29 w 373"/>
                <a:gd name="T41" fmla="*/ 151 h 405"/>
                <a:gd name="T42" fmla="*/ 29 w 373"/>
                <a:gd name="T43" fmla="*/ 183 h 405"/>
                <a:gd name="T44" fmla="*/ 0 w 373"/>
                <a:gd name="T45" fmla="*/ 205 h 405"/>
                <a:gd name="T46" fmla="*/ 42 w 373"/>
                <a:gd name="T47" fmla="*/ 230 h 405"/>
                <a:gd name="T48" fmla="*/ 39 w 373"/>
                <a:gd name="T49" fmla="*/ 259 h 405"/>
                <a:gd name="T50" fmla="*/ 186 w 373"/>
                <a:gd name="T51" fmla="*/ 405 h 405"/>
                <a:gd name="T52" fmla="*/ 334 w 373"/>
                <a:gd name="T53" fmla="*/ 259 h 405"/>
                <a:gd name="T54" fmla="*/ 331 w 373"/>
                <a:gd name="T55" fmla="*/ 230 h 405"/>
                <a:gd name="T56" fmla="*/ 373 w 373"/>
                <a:gd name="T57" fmla="*/ 205 h 405"/>
                <a:gd name="T58" fmla="*/ 344 w 373"/>
                <a:gd name="T59" fmla="*/ 183 h 405"/>
                <a:gd name="T60" fmla="*/ 344 w 373"/>
                <a:gd name="T61" fmla="*/ 151 h 405"/>
                <a:gd name="T62" fmla="*/ 257 w 373"/>
                <a:gd name="T63" fmla="*/ 18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3" h="405">
                  <a:moveTo>
                    <a:pt x="310" y="176"/>
                  </a:moveTo>
                  <a:cubicBezTo>
                    <a:pt x="280" y="171"/>
                    <a:pt x="240" y="168"/>
                    <a:pt x="187" y="168"/>
                  </a:cubicBezTo>
                  <a:lnTo>
                    <a:pt x="187" y="168"/>
                  </a:lnTo>
                  <a:cubicBezTo>
                    <a:pt x="134" y="168"/>
                    <a:pt x="93" y="171"/>
                    <a:pt x="63" y="176"/>
                  </a:cubicBezTo>
                  <a:lnTo>
                    <a:pt x="63" y="176"/>
                  </a:lnTo>
                  <a:lnTo>
                    <a:pt x="63" y="151"/>
                  </a:lnTo>
                  <a:cubicBezTo>
                    <a:pt x="63" y="113"/>
                    <a:pt x="84" y="79"/>
                    <a:pt x="115" y="58"/>
                  </a:cubicBezTo>
                  <a:cubicBezTo>
                    <a:pt x="116" y="80"/>
                    <a:pt x="114" y="115"/>
                    <a:pt x="102" y="149"/>
                  </a:cubicBezTo>
                  <a:cubicBezTo>
                    <a:pt x="112" y="148"/>
                    <a:pt x="124" y="147"/>
                    <a:pt x="138" y="146"/>
                  </a:cubicBezTo>
                  <a:cubicBezTo>
                    <a:pt x="152" y="100"/>
                    <a:pt x="150" y="52"/>
                    <a:pt x="148" y="35"/>
                  </a:cubicBezTo>
                  <a:lnTo>
                    <a:pt x="226" y="35"/>
                  </a:lnTo>
                  <a:cubicBezTo>
                    <a:pt x="224" y="50"/>
                    <a:pt x="221" y="97"/>
                    <a:pt x="235" y="146"/>
                  </a:cubicBezTo>
                  <a:cubicBezTo>
                    <a:pt x="249" y="147"/>
                    <a:pt x="262" y="148"/>
                    <a:pt x="272" y="149"/>
                  </a:cubicBezTo>
                  <a:cubicBezTo>
                    <a:pt x="260" y="115"/>
                    <a:pt x="258" y="80"/>
                    <a:pt x="259" y="58"/>
                  </a:cubicBezTo>
                  <a:cubicBezTo>
                    <a:pt x="290" y="79"/>
                    <a:pt x="310" y="113"/>
                    <a:pt x="310" y="151"/>
                  </a:cubicBezTo>
                  <a:lnTo>
                    <a:pt x="310" y="176"/>
                  </a:lnTo>
                  <a:close/>
                  <a:moveTo>
                    <a:pt x="257" y="18"/>
                  </a:moveTo>
                  <a:cubicBezTo>
                    <a:pt x="253" y="7"/>
                    <a:pt x="242" y="0"/>
                    <a:pt x="229" y="0"/>
                  </a:cubicBezTo>
                  <a:lnTo>
                    <a:pt x="145" y="0"/>
                  </a:lnTo>
                  <a:cubicBezTo>
                    <a:pt x="132" y="0"/>
                    <a:pt x="121" y="7"/>
                    <a:pt x="116" y="18"/>
                  </a:cubicBezTo>
                  <a:cubicBezTo>
                    <a:pt x="65" y="43"/>
                    <a:pt x="29" y="93"/>
                    <a:pt x="29" y="151"/>
                  </a:cubicBezTo>
                  <a:lnTo>
                    <a:pt x="29" y="183"/>
                  </a:lnTo>
                  <a:cubicBezTo>
                    <a:pt x="10" y="190"/>
                    <a:pt x="0" y="197"/>
                    <a:pt x="0" y="205"/>
                  </a:cubicBezTo>
                  <a:cubicBezTo>
                    <a:pt x="0" y="215"/>
                    <a:pt x="15" y="223"/>
                    <a:pt x="42" y="230"/>
                  </a:cubicBezTo>
                  <a:cubicBezTo>
                    <a:pt x="40" y="239"/>
                    <a:pt x="39" y="249"/>
                    <a:pt x="39" y="259"/>
                  </a:cubicBezTo>
                  <a:cubicBezTo>
                    <a:pt x="39" y="340"/>
                    <a:pt x="105" y="405"/>
                    <a:pt x="186" y="405"/>
                  </a:cubicBezTo>
                  <a:cubicBezTo>
                    <a:pt x="268" y="405"/>
                    <a:pt x="334" y="340"/>
                    <a:pt x="334" y="259"/>
                  </a:cubicBezTo>
                  <a:cubicBezTo>
                    <a:pt x="334" y="249"/>
                    <a:pt x="333" y="240"/>
                    <a:pt x="331" y="230"/>
                  </a:cubicBezTo>
                  <a:cubicBezTo>
                    <a:pt x="359" y="224"/>
                    <a:pt x="373" y="215"/>
                    <a:pt x="373" y="205"/>
                  </a:cubicBezTo>
                  <a:cubicBezTo>
                    <a:pt x="373" y="197"/>
                    <a:pt x="364" y="189"/>
                    <a:pt x="344" y="183"/>
                  </a:cubicBezTo>
                  <a:lnTo>
                    <a:pt x="344" y="151"/>
                  </a:lnTo>
                  <a:cubicBezTo>
                    <a:pt x="344" y="93"/>
                    <a:pt x="309" y="43"/>
                    <a:pt x="257" y="1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684" y="3623156"/>
            <a:ext cx="2206189" cy="275737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0254" y="3623156"/>
            <a:ext cx="2068028" cy="275737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068" y="3623156"/>
            <a:ext cx="1977991" cy="28276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1565973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90715" y="46036"/>
            <a:ext cx="11501285" cy="1325563"/>
          </a:xfrm>
        </p:spPr>
        <p:txBody>
          <a:bodyPr>
            <a:normAutofit/>
          </a:bodyPr>
          <a:lstStyle/>
          <a:p>
            <a:pPr algn="ctr"/>
            <a:r>
              <a:rPr lang="ru-RU" sz="3600" b="1" i="1" dirty="0">
                <a:solidFill>
                  <a:srgbClr val="00B0F0"/>
                </a:solidFill>
              </a:rPr>
              <a:t>Создание системы обеспечения студентов </a:t>
            </a:r>
            <a:r>
              <a:rPr lang="kk-KZ" sz="3600" b="1" i="1" dirty="0">
                <a:solidFill>
                  <a:srgbClr val="00B0F0"/>
                </a:solidFill>
              </a:rPr>
              <a:t>психологической, </a:t>
            </a:r>
            <a:r>
              <a:rPr lang="ru-RU" sz="3600" b="1" i="1" dirty="0">
                <a:solidFill>
                  <a:srgbClr val="00B0F0"/>
                </a:solidFill>
              </a:rPr>
              <a:t>социальной поддержкой </a:t>
            </a:r>
            <a:endParaRPr lang="ru-RU" sz="3600" i="1" dirty="0">
              <a:solidFill>
                <a:srgbClr val="00B0F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05983" y="1592827"/>
            <a:ext cx="11498921" cy="5137157"/>
          </a:xfrm>
          <a:noFill/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kk-KZ" dirty="0">
                <a:solidFill>
                  <a:schemeClr val="bg1"/>
                </a:solidFill>
              </a:rPr>
              <a:t>В 2020-2021 учебном году обучающимся были предоставлены следующие  виды социальной помощи:</a:t>
            </a:r>
            <a:endParaRPr lang="ru-RU" dirty="0">
              <a:solidFill>
                <a:schemeClr val="bg1"/>
              </a:solidFill>
            </a:endParaRPr>
          </a:p>
          <a:p>
            <a:pPr lvl="0">
              <a:buFont typeface="Wingdings" panose="05000000000000000000" pitchFamily="2" charset="2"/>
              <a:buChar char="ü"/>
            </a:pPr>
            <a:r>
              <a:rPr lang="kk-KZ" dirty="0">
                <a:solidFill>
                  <a:schemeClr val="bg1"/>
                </a:solidFill>
              </a:rPr>
              <a:t> Обеспечение бесплатным питанием: </a:t>
            </a:r>
            <a:endParaRPr lang="ru-RU" dirty="0">
              <a:solidFill>
                <a:schemeClr val="bg1"/>
              </a:solidFill>
            </a:endParaRPr>
          </a:p>
          <a:p>
            <a:pPr lvl="0">
              <a:buFont typeface="Wingdings" panose="05000000000000000000" pitchFamily="2" charset="2"/>
              <a:buChar char="ü"/>
            </a:pPr>
            <a:r>
              <a:rPr lang="kk-KZ" dirty="0">
                <a:solidFill>
                  <a:schemeClr val="bg1"/>
                </a:solidFill>
              </a:rPr>
              <a:t>обучающихся - сирот (</a:t>
            </a:r>
            <a:r>
              <a:rPr lang="kk-KZ" dirty="0">
                <a:solidFill>
                  <a:srgbClr val="FFFF00"/>
                </a:solidFill>
              </a:rPr>
              <a:t>64 чел</a:t>
            </a:r>
            <a:r>
              <a:rPr lang="kk-KZ" dirty="0">
                <a:solidFill>
                  <a:schemeClr val="bg1"/>
                </a:solidFill>
              </a:rPr>
              <a:t>.) </a:t>
            </a:r>
            <a:endParaRPr lang="ru-RU" dirty="0">
              <a:solidFill>
                <a:schemeClr val="bg1"/>
              </a:solidFill>
            </a:endParaRPr>
          </a:p>
          <a:p>
            <a:pPr lvl="0">
              <a:buFont typeface="Wingdings" panose="05000000000000000000" pitchFamily="2" charset="2"/>
              <a:buChar char="ü"/>
            </a:pPr>
            <a:r>
              <a:rPr lang="kk-KZ" dirty="0">
                <a:solidFill>
                  <a:schemeClr val="bg1"/>
                </a:solidFill>
              </a:rPr>
              <a:t>состоящих на</a:t>
            </a:r>
            <a:r>
              <a:rPr lang="ru-RU" dirty="0">
                <a:solidFill>
                  <a:schemeClr val="bg1"/>
                </a:solidFill>
              </a:rPr>
              <a:t> «Д» учете по туберкулезу и группе риска (</a:t>
            </a:r>
            <a:r>
              <a:rPr lang="ru-RU" dirty="0">
                <a:solidFill>
                  <a:srgbClr val="FFFF00"/>
                </a:solidFill>
              </a:rPr>
              <a:t>22 чел</a:t>
            </a:r>
            <a:r>
              <a:rPr lang="ru-RU" dirty="0">
                <a:solidFill>
                  <a:schemeClr val="bg1"/>
                </a:solidFill>
              </a:rPr>
              <a:t>.) ; </a:t>
            </a:r>
          </a:p>
          <a:p>
            <a:pPr lvl="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bg1"/>
                </a:solidFill>
              </a:rPr>
              <a:t>  </a:t>
            </a:r>
            <a:r>
              <a:rPr lang="kk-KZ" dirty="0">
                <a:solidFill>
                  <a:schemeClr val="bg1"/>
                </a:solidFill>
              </a:rPr>
              <a:t>Предоставление компенсации на приобретение одежды и обуви для обучающихся –сирот  первокурсников ( </a:t>
            </a:r>
            <a:r>
              <a:rPr lang="kk-KZ" dirty="0">
                <a:solidFill>
                  <a:srgbClr val="FFFF00"/>
                </a:solidFill>
              </a:rPr>
              <a:t>6 чел</a:t>
            </a:r>
            <a:r>
              <a:rPr lang="kk-KZ" dirty="0">
                <a:solidFill>
                  <a:schemeClr val="bg1"/>
                </a:solidFill>
              </a:rPr>
              <a:t>.).</a:t>
            </a:r>
            <a:endParaRPr lang="ru-RU" dirty="0">
              <a:solidFill>
                <a:schemeClr val="bg1"/>
              </a:solidFill>
            </a:endParaRPr>
          </a:p>
          <a:p>
            <a:pPr lvl="0">
              <a:buFont typeface="Wingdings" panose="05000000000000000000" pitchFamily="2" charset="2"/>
              <a:buChar char="ü"/>
            </a:pPr>
            <a:r>
              <a:rPr lang="kk-KZ" dirty="0">
                <a:solidFill>
                  <a:schemeClr val="bg1"/>
                </a:solidFill>
              </a:rPr>
              <a:t>  Получение пособия студентам сиротам при поступлении (</a:t>
            </a:r>
            <a:r>
              <a:rPr lang="kk-KZ" dirty="0">
                <a:solidFill>
                  <a:srgbClr val="FFFF00"/>
                </a:solidFill>
              </a:rPr>
              <a:t>6 чел</a:t>
            </a:r>
            <a:r>
              <a:rPr lang="kk-KZ" dirty="0">
                <a:solidFill>
                  <a:schemeClr val="bg1"/>
                </a:solidFill>
              </a:rPr>
              <a:t>.) в размере 2 МРП.</a:t>
            </a:r>
            <a:endParaRPr lang="ru-RU" dirty="0">
              <a:solidFill>
                <a:schemeClr val="bg1"/>
              </a:solidFill>
            </a:endParaRPr>
          </a:p>
          <a:p>
            <a:pPr lvl="0">
              <a:buFont typeface="Wingdings" panose="05000000000000000000" pitchFamily="2" charset="2"/>
              <a:buChar char="ü"/>
            </a:pPr>
            <a:r>
              <a:rPr lang="kk-KZ" dirty="0">
                <a:solidFill>
                  <a:schemeClr val="bg1"/>
                </a:solidFill>
              </a:rPr>
              <a:t>  Скидки на обучение предоставлены с</a:t>
            </a:r>
            <a:r>
              <a:rPr lang="ru-RU" dirty="0" err="1">
                <a:solidFill>
                  <a:schemeClr val="bg1"/>
                </a:solidFill>
              </a:rPr>
              <a:t>тудентам</a:t>
            </a:r>
            <a:r>
              <a:rPr lang="kk-KZ" dirty="0">
                <a:solidFill>
                  <a:schemeClr val="bg1"/>
                </a:solidFill>
              </a:rPr>
              <a:t>-сиротам, оставшимся без попечения одного из родителей, из многодетной семьи, студентам-инвалидам,  детям сотрудников КазНМУ </a:t>
            </a:r>
            <a:r>
              <a:rPr lang="ru-RU" dirty="0">
                <a:solidFill>
                  <a:schemeClr val="bg1"/>
                </a:solidFill>
              </a:rPr>
              <a:t>(всего </a:t>
            </a:r>
            <a:r>
              <a:rPr lang="ru-RU" dirty="0">
                <a:solidFill>
                  <a:srgbClr val="FFFF00"/>
                </a:solidFill>
              </a:rPr>
              <a:t>264 чел</a:t>
            </a:r>
            <a:r>
              <a:rPr lang="ru-RU" dirty="0">
                <a:solidFill>
                  <a:schemeClr val="bg1"/>
                </a:solidFill>
              </a:rPr>
              <a:t>.) </a:t>
            </a:r>
            <a:endParaRPr lang="ru-RU" dirty="0">
              <a:solidFill>
                <a:schemeClr val="bg1"/>
              </a:solidFill>
              <a:effectLst/>
            </a:endParaRPr>
          </a:p>
        </p:txBody>
      </p:sp>
      <p:grpSp>
        <p:nvGrpSpPr>
          <p:cNvPr id="12" name="Clipboard2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305983" y="172487"/>
            <a:ext cx="1199112" cy="1199112"/>
            <a:chOff x="4098925" y="476250"/>
            <a:chExt cx="823913" cy="823913"/>
          </a:xfrm>
        </p:grpSpPr>
        <p:sp>
          <p:nvSpPr>
            <p:cNvPr id="13" name="Oval 81"/>
            <p:cNvSpPr>
              <a:spLocks noChangeArrowheads="1"/>
            </p:cNvSpPr>
            <p:nvPr/>
          </p:nvSpPr>
          <p:spPr bwMode="auto">
            <a:xfrm>
              <a:off x="4098925" y="476250"/>
              <a:ext cx="823913" cy="8239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326"/>
            <p:cNvSpPr>
              <a:spLocks/>
            </p:cNvSpPr>
            <p:nvPr/>
          </p:nvSpPr>
          <p:spPr bwMode="auto">
            <a:xfrm>
              <a:off x="4470400" y="736600"/>
              <a:ext cx="450850" cy="534988"/>
            </a:xfrm>
            <a:custGeom>
              <a:avLst/>
              <a:gdLst>
                <a:gd name="T0" fmla="*/ 452 w 1049"/>
                <a:gd name="T1" fmla="*/ 0 h 1246"/>
                <a:gd name="T2" fmla="*/ 0 w 1049"/>
                <a:gd name="T3" fmla="*/ 155 h 1246"/>
                <a:gd name="T4" fmla="*/ 20 w 1049"/>
                <a:gd name="T5" fmla="*/ 544 h 1246"/>
                <a:gd name="T6" fmla="*/ 51 w 1049"/>
                <a:gd name="T7" fmla="*/ 871 h 1246"/>
                <a:gd name="T8" fmla="*/ 475 w 1049"/>
                <a:gd name="T9" fmla="*/ 1246 h 1246"/>
                <a:gd name="T10" fmla="*/ 1049 w 1049"/>
                <a:gd name="T11" fmla="*/ 486 h 1246"/>
                <a:gd name="T12" fmla="*/ 452 w 1049"/>
                <a:gd name="T13" fmla="*/ 0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9" h="1246">
                  <a:moveTo>
                    <a:pt x="452" y="0"/>
                  </a:moveTo>
                  <a:lnTo>
                    <a:pt x="0" y="155"/>
                  </a:lnTo>
                  <a:lnTo>
                    <a:pt x="20" y="544"/>
                  </a:lnTo>
                  <a:lnTo>
                    <a:pt x="51" y="871"/>
                  </a:lnTo>
                  <a:lnTo>
                    <a:pt x="475" y="1246"/>
                  </a:lnTo>
                  <a:cubicBezTo>
                    <a:pt x="784" y="1142"/>
                    <a:pt x="1013" y="820"/>
                    <a:pt x="1049" y="486"/>
                  </a:cubicBezTo>
                  <a:lnTo>
                    <a:pt x="452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327"/>
            <p:cNvSpPr>
              <a:spLocks/>
            </p:cNvSpPr>
            <p:nvPr/>
          </p:nvSpPr>
          <p:spPr bwMode="auto">
            <a:xfrm>
              <a:off x="4313238" y="655638"/>
              <a:ext cx="382588" cy="498475"/>
            </a:xfrm>
            <a:custGeom>
              <a:avLst/>
              <a:gdLst>
                <a:gd name="T0" fmla="*/ 890 w 890"/>
                <a:gd name="T1" fmla="*/ 1124 h 1160"/>
                <a:gd name="T2" fmla="*/ 852 w 890"/>
                <a:gd name="T3" fmla="*/ 1160 h 1160"/>
                <a:gd name="T4" fmla="*/ 37 w 890"/>
                <a:gd name="T5" fmla="*/ 1160 h 1160"/>
                <a:gd name="T6" fmla="*/ 0 w 890"/>
                <a:gd name="T7" fmla="*/ 1124 h 1160"/>
                <a:gd name="T8" fmla="*/ 0 w 890"/>
                <a:gd name="T9" fmla="*/ 37 h 1160"/>
                <a:gd name="T10" fmla="*/ 37 w 890"/>
                <a:gd name="T11" fmla="*/ 0 h 1160"/>
                <a:gd name="T12" fmla="*/ 852 w 890"/>
                <a:gd name="T13" fmla="*/ 0 h 1160"/>
                <a:gd name="T14" fmla="*/ 890 w 890"/>
                <a:gd name="T15" fmla="*/ 37 h 1160"/>
                <a:gd name="T16" fmla="*/ 890 w 890"/>
                <a:gd name="T17" fmla="*/ 1124 h 1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90" h="1160">
                  <a:moveTo>
                    <a:pt x="890" y="1124"/>
                  </a:moveTo>
                  <a:cubicBezTo>
                    <a:pt x="890" y="1144"/>
                    <a:pt x="873" y="1160"/>
                    <a:pt x="852" y="1160"/>
                  </a:cubicBezTo>
                  <a:lnTo>
                    <a:pt x="37" y="1160"/>
                  </a:lnTo>
                  <a:cubicBezTo>
                    <a:pt x="16" y="1160"/>
                    <a:pt x="0" y="1144"/>
                    <a:pt x="0" y="1124"/>
                  </a:cubicBezTo>
                  <a:lnTo>
                    <a:pt x="0" y="37"/>
                  </a:lnTo>
                  <a:cubicBezTo>
                    <a:pt x="0" y="16"/>
                    <a:pt x="16" y="0"/>
                    <a:pt x="37" y="0"/>
                  </a:cubicBezTo>
                  <a:lnTo>
                    <a:pt x="852" y="0"/>
                  </a:lnTo>
                  <a:cubicBezTo>
                    <a:pt x="873" y="0"/>
                    <a:pt x="890" y="16"/>
                    <a:pt x="890" y="37"/>
                  </a:cubicBezTo>
                  <a:lnTo>
                    <a:pt x="890" y="1124"/>
                  </a:lnTo>
                  <a:close/>
                </a:path>
              </a:pathLst>
            </a:custGeom>
            <a:solidFill>
              <a:srgbClr val="20305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328"/>
            <p:cNvSpPr>
              <a:spLocks/>
            </p:cNvSpPr>
            <p:nvPr/>
          </p:nvSpPr>
          <p:spPr bwMode="auto">
            <a:xfrm>
              <a:off x="4337050" y="681038"/>
              <a:ext cx="334963" cy="444500"/>
            </a:xfrm>
            <a:custGeom>
              <a:avLst/>
              <a:gdLst>
                <a:gd name="T0" fmla="*/ 777 w 777"/>
                <a:gd name="T1" fmla="*/ 1026 h 1034"/>
                <a:gd name="T2" fmla="*/ 769 w 777"/>
                <a:gd name="T3" fmla="*/ 1034 h 1034"/>
                <a:gd name="T4" fmla="*/ 9 w 777"/>
                <a:gd name="T5" fmla="*/ 1034 h 1034"/>
                <a:gd name="T6" fmla="*/ 0 w 777"/>
                <a:gd name="T7" fmla="*/ 1026 h 1034"/>
                <a:gd name="T8" fmla="*/ 0 w 777"/>
                <a:gd name="T9" fmla="*/ 9 h 1034"/>
                <a:gd name="T10" fmla="*/ 9 w 777"/>
                <a:gd name="T11" fmla="*/ 0 h 1034"/>
                <a:gd name="T12" fmla="*/ 769 w 777"/>
                <a:gd name="T13" fmla="*/ 0 h 1034"/>
                <a:gd name="T14" fmla="*/ 777 w 777"/>
                <a:gd name="T15" fmla="*/ 9 h 1034"/>
                <a:gd name="T16" fmla="*/ 777 w 777"/>
                <a:gd name="T17" fmla="*/ 1026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7" h="1034">
                  <a:moveTo>
                    <a:pt x="777" y="1026"/>
                  </a:moveTo>
                  <a:cubicBezTo>
                    <a:pt x="777" y="1030"/>
                    <a:pt x="773" y="1034"/>
                    <a:pt x="769" y="1034"/>
                  </a:cubicBezTo>
                  <a:lnTo>
                    <a:pt x="9" y="1034"/>
                  </a:lnTo>
                  <a:cubicBezTo>
                    <a:pt x="4" y="1034"/>
                    <a:pt x="0" y="1030"/>
                    <a:pt x="0" y="1026"/>
                  </a:cubicBez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lnTo>
                    <a:pt x="769" y="0"/>
                  </a:lnTo>
                  <a:cubicBezTo>
                    <a:pt x="773" y="0"/>
                    <a:pt x="777" y="4"/>
                    <a:pt x="777" y="9"/>
                  </a:cubicBezTo>
                  <a:lnTo>
                    <a:pt x="777" y="10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329"/>
            <p:cNvSpPr>
              <a:spLocks noEditPoints="1"/>
            </p:cNvSpPr>
            <p:nvPr/>
          </p:nvSpPr>
          <p:spPr bwMode="auto">
            <a:xfrm>
              <a:off x="4435475" y="638175"/>
              <a:ext cx="147638" cy="73025"/>
            </a:xfrm>
            <a:custGeom>
              <a:avLst/>
              <a:gdLst>
                <a:gd name="T0" fmla="*/ 175 w 346"/>
                <a:gd name="T1" fmla="*/ 83 h 170"/>
                <a:gd name="T2" fmla="*/ 147 w 346"/>
                <a:gd name="T3" fmla="*/ 56 h 170"/>
                <a:gd name="T4" fmla="*/ 175 w 346"/>
                <a:gd name="T5" fmla="*/ 29 h 170"/>
                <a:gd name="T6" fmla="*/ 203 w 346"/>
                <a:gd name="T7" fmla="*/ 56 h 170"/>
                <a:gd name="T8" fmla="*/ 175 w 346"/>
                <a:gd name="T9" fmla="*/ 83 h 170"/>
                <a:gd name="T10" fmla="*/ 230 w 346"/>
                <a:gd name="T11" fmla="*/ 79 h 170"/>
                <a:gd name="T12" fmla="*/ 234 w 346"/>
                <a:gd name="T13" fmla="*/ 58 h 170"/>
                <a:gd name="T14" fmla="*/ 175 w 346"/>
                <a:gd name="T15" fmla="*/ 0 h 170"/>
                <a:gd name="T16" fmla="*/ 116 w 346"/>
                <a:gd name="T17" fmla="*/ 58 h 170"/>
                <a:gd name="T18" fmla="*/ 120 w 346"/>
                <a:gd name="T19" fmla="*/ 79 h 170"/>
                <a:gd name="T20" fmla="*/ 0 w 346"/>
                <a:gd name="T21" fmla="*/ 79 h 170"/>
                <a:gd name="T22" fmla="*/ 0 w 346"/>
                <a:gd name="T23" fmla="*/ 170 h 170"/>
                <a:gd name="T24" fmla="*/ 346 w 346"/>
                <a:gd name="T25" fmla="*/ 170 h 170"/>
                <a:gd name="T26" fmla="*/ 346 w 346"/>
                <a:gd name="T27" fmla="*/ 79 h 170"/>
                <a:gd name="T28" fmla="*/ 230 w 346"/>
                <a:gd name="T29" fmla="*/ 7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6" h="170">
                  <a:moveTo>
                    <a:pt x="175" y="83"/>
                  </a:moveTo>
                  <a:cubicBezTo>
                    <a:pt x="160" y="83"/>
                    <a:pt x="147" y="71"/>
                    <a:pt x="147" y="56"/>
                  </a:cubicBezTo>
                  <a:cubicBezTo>
                    <a:pt x="147" y="41"/>
                    <a:pt x="160" y="29"/>
                    <a:pt x="175" y="29"/>
                  </a:cubicBezTo>
                  <a:cubicBezTo>
                    <a:pt x="190" y="29"/>
                    <a:pt x="203" y="41"/>
                    <a:pt x="203" y="56"/>
                  </a:cubicBezTo>
                  <a:cubicBezTo>
                    <a:pt x="203" y="71"/>
                    <a:pt x="190" y="83"/>
                    <a:pt x="175" y="83"/>
                  </a:cubicBezTo>
                  <a:close/>
                  <a:moveTo>
                    <a:pt x="230" y="79"/>
                  </a:moveTo>
                  <a:cubicBezTo>
                    <a:pt x="232" y="72"/>
                    <a:pt x="234" y="65"/>
                    <a:pt x="234" y="58"/>
                  </a:cubicBezTo>
                  <a:cubicBezTo>
                    <a:pt x="234" y="26"/>
                    <a:pt x="207" y="0"/>
                    <a:pt x="175" y="0"/>
                  </a:cubicBezTo>
                  <a:cubicBezTo>
                    <a:pt x="142" y="0"/>
                    <a:pt x="116" y="26"/>
                    <a:pt x="116" y="58"/>
                  </a:cubicBezTo>
                  <a:cubicBezTo>
                    <a:pt x="116" y="65"/>
                    <a:pt x="117" y="72"/>
                    <a:pt x="120" y="79"/>
                  </a:cubicBezTo>
                  <a:lnTo>
                    <a:pt x="0" y="79"/>
                  </a:lnTo>
                  <a:lnTo>
                    <a:pt x="0" y="170"/>
                  </a:lnTo>
                  <a:lnTo>
                    <a:pt x="346" y="170"/>
                  </a:lnTo>
                  <a:lnTo>
                    <a:pt x="346" y="79"/>
                  </a:lnTo>
                  <a:lnTo>
                    <a:pt x="230" y="79"/>
                  </a:lnTo>
                  <a:close/>
                </a:path>
              </a:pathLst>
            </a:custGeom>
            <a:solidFill>
              <a:srgbClr val="58AD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330"/>
            <p:cNvSpPr>
              <a:spLocks/>
            </p:cNvSpPr>
            <p:nvPr/>
          </p:nvSpPr>
          <p:spPr bwMode="auto">
            <a:xfrm>
              <a:off x="4378325" y="768350"/>
              <a:ext cx="46038" cy="36513"/>
            </a:xfrm>
            <a:custGeom>
              <a:avLst/>
              <a:gdLst>
                <a:gd name="T0" fmla="*/ 108 w 108"/>
                <a:gd name="T1" fmla="*/ 18 h 83"/>
                <a:gd name="T2" fmla="*/ 47 w 108"/>
                <a:gd name="T3" fmla="*/ 83 h 83"/>
                <a:gd name="T4" fmla="*/ 0 w 108"/>
                <a:gd name="T5" fmla="*/ 34 h 83"/>
                <a:gd name="T6" fmla="*/ 18 w 108"/>
                <a:gd name="T7" fmla="*/ 15 h 83"/>
                <a:gd name="T8" fmla="*/ 47 w 108"/>
                <a:gd name="T9" fmla="*/ 44 h 83"/>
                <a:gd name="T10" fmla="*/ 89 w 108"/>
                <a:gd name="T11" fmla="*/ 0 h 83"/>
                <a:gd name="T12" fmla="*/ 108 w 108"/>
                <a:gd name="T13" fmla="*/ 1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83">
                  <a:moveTo>
                    <a:pt x="108" y="18"/>
                  </a:moveTo>
                  <a:cubicBezTo>
                    <a:pt x="89" y="41"/>
                    <a:pt x="67" y="62"/>
                    <a:pt x="47" y="83"/>
                  </a:cubicBezTo>
                  <a:cubicBezTo>
                    <a:pt x="30" y="68"/>
                    <a:pt x="14" y="52"/>
                    <a:pt x="0" y="34"/>
                  </a:cubicBezTo>
                  <a:cubicBezTo>
                    <a:pt x="5" y="28"/>
                    <a:pt x="11" y="20"/>
                    <a:pt x="18" y="15"/>
                  </a:cubicBezTo>
                  <a:cubicBezTo>
                    <a:pt x="29" y="23"/>
                    <a:pt x="37" y="35"/>
                    <a:pt x="47" y="44"/>
                  </a:cubicBezTo>
                  <a:cubicBezTo>
                    <a:pt x="62" y="30"/>
                    <a:pt x="75" y="15"/>
                    <a:pt x="89" y="0"/>
                  </a:cubicBezTo>
                  <a:cubicBezTo>
                    <a:pt x="97" y="4"/>
                    <a:pt x="102" y="12"/>
                    <a:pt x="108" y="18"/>
                  </a:cubicBezTo>
                </a:path>
              </a:pathLst>
            </a:custGeom>
            <a:solidFill>
              <a:srgbClr val="F3C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Rectangle 331"/>
            <p:cNvSpPr>
              <a:spLocks noChangeArrowheads="1"/>
            </p:cNvSpPr>
            <p:nvPr/>
          </p:nvSpPr>
          <p:spPr bwMode="auto">
            <a:xfrm>
              <a:off x="4437063" y="784225"/>
              <a:ext cx="187325" cy="9525"/>
            </a:xfrm>
            <a:prstGeom prst="rect">
              <a:avLst/>
            </a:prstGeom>
            <a:solidFill>
              <a:srgbClr val="476A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332"/>
            <p:cNvSpPr>
              <a:spLocks/>
            </p:cNvSpPr>
            <p:nvPr/>
          </p:nvSpPr>
          <p:spPr bwMode="auto">
            <a:xfrm>
              <a:off x="4376738" y="839788"/>
              <a:ext cx="46038" cy="34925"/>
            </a:xfrm>
            <a:custGeom>
              <a:avLst/>
              <a:gdLst>
                <a:gd name="T0" fmla="*/ 108 w 108"/>
                <a:gd name="T1" fmla="*/ 18 h 83"/>
                <a:gd name="T2" fmla="*/ 47 w 108"/>
                <a:gd name="T3" fmla="*/ 83 h 83"/>
                <a:gd name="T4" fmla="*/ 0 w 108"/>
                <a:gd name="T5" fmla="*/ 34 h 83"/>
                <a:gd name="T6" fmla="*/ 18 w 108"/>
                <a:gd name="T7" fmla="*/ 14 h 83"/>
                <a:gd name="T8" fmla="*/ 48 w 108"/>
                <a:gd name="T9" fmla="*/ 43 h 83"/>
                <a:gd name="T10" fmla="*/ 90 w 108"/>
                <a:gd name="T11" fmla="*/ 0 h 83"/>
                <a:gd name="T12" fmla="*/ 108 w 108"/>
                <a:gd name="T13" fmla="*/ 1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83">
                  <a:moveTo>
                    <a:pt x="108" y="18"/>
                  </a:moveTo>
                  <a:cubicBezTo>
                    <a:pt x="89" y="41"/>
                    <a:pt x="68" y="62"/>
                    <a:pt x="47" y="83"/>
                  </a:cubicBezTo>
                  <a:cubicBezTo>
                    <a:pt x="31" y="68"/>
                    <a:pt x="15" y="52"/>
                    <a:pt x="0" y="34"/>
                  </a:cubicBezTo>
                  <a:cubicBezTo>
                    <a:pt x="6" y="27"/>
                    <a:pt x="12" y="20"/>
                    <a:pt x="18" y="14"/>
                  </a:cubicBezTo>
                  <a:cubicBezTo>
                    <a:pt x="30" y="22"/>
                    <a:pt x="38" y="34"/>
                    <a:pt x="48" y="43"/>
                  </a:cubicBezTo>
                  <a:cubicBezTo>
                    <a:pt x="62" y="29"/>
                    <a:pt x="76" y="15"/>
                    <a:pt x="90" y="0"/>
                  </a:cubicBezTo>
                  <a:cubicBezTo>
                    <a:pt x="98" y="4"/>
                    <a:pt x="102" y="12"/>
                    <a:pt x="108" y="18"/>
                  </a:cubicBezTo>
                </a:path>
              </a:pathLst>
            </a:custGeom>
            <a:solidFill>
              <a:srgbClr val="F3C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Rectangle 333"/>
            <p:cNvSpPr>
              <a:spLocks noChangeArrowheads="1"/>
            </p:cNvSpPr>
            <p:nvPr/>
          </p:nvSpPr>
          <p:spPr bwMode="auto">
            <a:xfrm>
              <a:off x="4435475" y="854075"/>
              <a:ext cx="188913" cy="9525"/>
            </a:xfrm>
            <a:prstGeom prst="rect">
              <a:avLst/>
            </a:prstGeom>
            <a:solidFill>
              <a:srgbClr val="476A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334"/>
            <p:cNvSpPr>
              <a:spLocks/>
            </p:cNvSpPr>
            <p:nvPr/>
          </p:nvSpPr>
          <p:spPr bwMode="auto">
            <a:xfrm>
              <a:off x="4378325" y="912813"/>
              <a:ext cx="47625" cy="34925"/>
            </a:xfrm>
            <a:custGeom>
              <a:avLst/>
              <a:gdLst>
                <a:gd name="T0" fmla="*/ 108 w 108"/>
                <a:gd name="T1" fmla="*/ 18 h 83"/>
                <a:gd name="T2" fmla="*/ 47 w 108"/>
                <a:gd name="T3" fmla="*/ 83 h 83"/>
                <a:gd name="T4" fmla="*/ 0 w 108"/>
                <a:gd name="T5" fmla="*/ 34 h 83"/>
                <a:gd name="T6" fmla="*/ 18 w 108"/>
                <a:gd name="T7" fmla="*/ 14 h 83"/>
                <a:gd name="T8" fmla="*/ 48 w 108"/>
                <a:gd name="T9" fmla="*/ 43 h 83"/>
                <a:gd name="T10" fmla="*/ 89 w 108"/>
                <a:gd name="T11" fmla="*/ 0 h 83"/>
                <a:gd name="T12" fmla="*/ 108 w 108"/>
                <a:gd name="T13" fmla="*/ 1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83">
                  <a:moveTo>
                    <a:pt x="108" y="18"/>
                  </a:moveTo>
                  <a:cubicBezTo>
                    <a:pt x="89" y="41"/>
                    <a:pt x="68" y="61"/>
                    <a:pt x="47" y="83"/>
                  </a:cubicBezTo>
                  <a:cubicBezTo>
                    <a:pt x="30" y="68"/>
                    <a:pt x="15" y="51"/>
                    <a:pt x="0" y="34"/>
                  </a:cubicBezTo>
                  <a:cubicBezTo>
                    <a:pt x="6" y="27"/>
                    <a:pt x="11" y="20"/>
                    <a:pt x="18" y="14"/>
                  </a:cubicBezTo>
                  <a:cubicBezTo>
                    <a:pt x="30" y="22"/>
                    <a:pt x="37" y="34"/>
                    <a:pt x="48" y="43"/>
                  </a:cubicBezTo>
                  <a:cubicBezTo>
                    <a:pt x="62" y="29"/>
                    <a:pt x="76" y="15"/>
                    <a:pt x="89" y="0"/>
                  </a:cubicBezTo>
                  <a:cubicBezTo>
                    <a:pt x="98" y="4"/>
                    <a:pt x="102" y="12"/>
                    <a:pt x="108" y="18"/>
                  </a:cubicBezTo>
                  <a:close/>
                </a:path>
              </a:pathLst>
            </a:custGeom>
            <a:solidFill>
              <a:srgbClr val="F3C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Rectangle 335"/>
            <p:cNvSpPr>
              <a:spLocks noChangeArrowheads="1"/>
            </p:cNvSpPr>
            <p:nvPr/>
          </p:nvSpPr>
          <p:spPr bwMode="auto">
            <a:xfrm>
              <a:off x="4438650" y="928688"/>
              <a:ext cx="187325" cy="7938"/>
            </a:xfrm>
            <a:prstGeom prst="rect">
              <a:avLst/>
            </a:prstGeom>
            <a:solidFill>
              <a:srgbClr val="476A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336"/>
            <p:cNvSpPr>
              <a:spLocks/>
            </p:cNvSpPr>
            <p:nvPr/>
          </p:nvSpPr>
          <p:spPr bwMode="auto">
            <a:xfrm>
              <a:off x="4379913" y="984250"/>
              <a:ext cx="46038" cy="36513"/>
            </a:xfrm>
            <a:custGeom>
              <a:avLst/>
              <a:gdLst>
                <a:gd name="T0" fmla="*/ 108 w 108"/>
                <a:gd name="T1" fmla="*/ 18 h 83"/>
                <a:gd name="T2" fmla="*/ 46 w 108"/>
                <a:gd name="T3" fmla="*/ 83 h 83"/>
                <a:gd name="T4" fmla="*/ 0 w 108"/>
                <a:gd name="T5" fmla="*/ 34 h 83"/>
                <a:gd name="T6" fmla="*/ 18 w 108"/>
                <a:gd name="T7" fmla="*/ 14 h 83"/>
                <a:gd name="T8" fmla="*/ 47 w 108"/>
                <a:gd name="T9" fmla="*/ 44 h 83"/>
                <a:gd name="T10" fmla="*/ 89 w 108"/>
                <a:gd name="T11" fmla="*/ 0 h 83"/>
                <a:gd name="T12" fmla="*/ 108 w 108"/>
                <a:gd name="T13" fmla="*/ 1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83">
                  <a:moveTo>
                    <a:pt x="108" y="18"/>
                  </a:moveTo>
                  <a:cubicBezTo>
                    <a:pt x="89" y="41"/>
                    <a:pt x="67" y="62"/>
                    <a:pt x="46" y="83"/>
                  </a:cubicBezTo>
                  <a:cubicBezTo>
                    <a:pt x="30" y="68"/>
                    <a:pt x="14" y="52"/>
                    <a:pt x="0" y="34"/>
                  </a:cubicBezTo>
                  <a:cubicBezTo>
                    <a:pt x="5" y="27"/>
                    <a:pt x="11" y="20"/>
                    <a:pt x="18" y="14"/>
                  </a:cubicBezTo>
                  <a:cubicBezTo>
                    <a:pt x="29" y="23"/>
                    <a:pt x="37" y="35"/>
                    <a:pt x="47" y="44"/>
                  </a:cubicBezTo>
                  <a:cubicBezTo>
                    <a:pt x="62" y="30"/>
                    <a:pt x="75" y="15"/>
                    <a:pt x="89" y="0"/>
                  </a:cubicBezTo>
                  <a:cubicBezTo>
                    <a:pt x="97" y="4"/>
                    <a:pt x="101" y="12"/>
                    <a:pt x="108" y="18"/>
                  </a:cubicBezTo>
                  <a:close/>
                </a:path>
              </a:pathLst>
            </a:custGeom>
            <a:solidFill>
              <a:srgbClr val="F3C7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Rectangle 337"/>
            <p:cNvSpPr>
              <a:spLocks noChangeArrowheads="1"/>
            </p:cNvSpPr>
            <p:nvPr/>
          </p:nvSpPr>
          <p:spPr bwMode="auto">
            <a:xfrm>
              <a:off x="4438650" y="1000125"/>
              <a:ext cx="187325" cy="9525"/>
            </a:xfrm>
            <a:prstGeom prst="rect">
              <a:avLst/>
            </a:prstGeom>
            <a:solidFill>
              <a:srgbClr val="476A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33828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5B9BD5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3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6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8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LABEL" val="POWER_USER_DIAGRAM_CIRCULAR_LABEL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siness peop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asket ball*sports*gam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ok*booklet*books*culture*library*bookmark*literature*read*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-USER ICON" val="Power-user ic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uilding_POWER_USER_SEPARATOR_ICONS_architecture_POWER_USER_SEPARATOR_ICONS_buildings_POWER_USER_SEPARATOR_ICONS_city_POWER_USER_SEPARATOR_ICONS_office_POWER_USER_SEPARATOR_ICONS_skyline_POWER_USER_SEPARATOR_ICONS_urba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POWER-USER ICON" val="Power-user ic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POWER-USER ICON" val="Power-user ic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POWER-USER ICON" val="Power-user ic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POWER-USER ICON" val="Power-user ic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stripes_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dicine_POWER_USER_SEPARATOR_ICONS_cup_POWER_USER_SEPARATOR_ICONS_doctor_POWER_USER_SEPARATOR_ICONS_health_POWER_USER_SEPARATOR_ICONS_health-care_POWER_USER_SEPARATOR_ICONS_hospital_POWER_USER_SEPARATOR_ICONS_medical_POWER_USER_SEPARATOR_ICONS_snak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POWER-USER ICON" val="Power-user ic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dicine_POWER_USER_SEPARATOR_ICONS_cup_POWER_USER_SEPARATOR_ICONS_doctor_POWER_USER_SEPARATOR_ICONS_health_POWER_USER_SEPARATOR_ICONS_health-care_POWER_USER_SEPARATOR_ICONS_hospital_POWER_USER_SEPARATOR_ICONS_medical_POWER_USER_SEPARATOR_ICONS_snak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dicine_POWER_USER_SEPARATOR_ICONS_cup_POWER_USER_SEPARATOR_ICONS_doctor_POWER_USER_SEPARATOR_ICONS_health_POWER_USER_SEPARATOR_ICONS_health-care_POWER_USER_SEPARATOR_ICONS_hospital_POWER_USER_SEPARATOR_ICONS_medical_POWER_USER_SEPARATOR_ICONS_snak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dicine_POWER_USER_SEPARATOR_ICONS_cup_POWER_USER_SEPARATOR_ICONS_doctor_POWER_USER_SEPARATOR_ICONS_health_POWER_USER_SEPARATOR_ICONS_health-care_POWER_USER_SEPARATOR_ICONS_hospital_POWER_USER_SEPARATOR_ICONS_medical_POWER_USER_SEPARATOR_ICONS_snak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dicine_POWER_USER_SEPARATOR_ICONS_cup_POWER_USER_SEPARATOR_ICONS_doctor_POWER_USER_SEPARATOR_ICONS_health_POWER_USER_SEPARATOR_ICONS_health-care_POWER_USER_SEPARATOR_ICONS_hospital_POWER_USER_SEPARATOR_ICONS_medical_POWER_USER_SEPARATOR_ICONS_snak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dicine_POWER_USER_SEPARATOR_ICONS_cup_POWER_USER_SEPARATOR_ICONS_doctor_POWER_USER_SEPARATOR_ICONS_health_POWER_USER_SEPARATOR_ICONS_health-care_POWER_USER_SEPARATOR_ICONS_hospital_POWER_USER_SEPARATOR_ICONS_medical_POWER_USER_SEPARATOR_ICONS_snak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POWER-USER ICON" val="Power-user ic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dicine_POWER_USER_SEPARATOR_ICONS_cup_POWER_USER_SEPARATOR_ICONS_doctor_POWER_USER_SEPARATOR_ICONS_health_POWER_USER_SEPARATOR_ICONS_health-care_POWER_USER_SEPARATOR_ICONS_hospital_POWER_USER_SEPARATOR_ICONS_medical_POWER_USER_SEPARATOR_ICONS_snak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dicine_POWER_USER_SEPARATOR_ICONS_cup_POWER_USER_SEPARATOR_ICONS_doctor_POWER_USER_SEPARATOR_ICONS_health_POWER_USER_SEPARATOR_ICONS_health-care_POWER_USER_SEPARATOR_ICONS_hospital_POWER_USER_SEPARATOR_ICONS_medical_POWER_USER_SEPARATOR_ICONS_snak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stripes_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na_POWER_USER_SEPARATOR_ICONS_double-helix_POWER_USER_SEPARATOR_ICONS_gene_POWER_USER_SEPARATOR_ICONS_helix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POWER-USER ICON" val="Power-user ic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ntenna_POWER_USER_SEPARATOR_ICONS_media_POWER_USER_SEPARATOR_ICONS_signal_POWER_USER_SEPARATOR_ICONS_tow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POWER-USER ICON" val="Power-user ic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POWER-USER ICON" val="Power-user ic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POWER-USER ICON" val="Power-user ic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POWER-USER ICON" val="Power-user ic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POWER-USER ICON" val="Power-user ic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  <p:tag name="POWER-USER ICON" val="Power-user ic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7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CONTEXTUAL_SHAPES_TAG" val="POWER_USER_CONTEXTUAL_SHAPES_DIAGRAMS_CIRCULA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6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8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6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7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8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1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6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7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8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2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6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8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39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онкие сплошные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pulent</Template>
  <TotalTime>1431</TotalTime>
  <Words>1727</Words>
  <Application>Microsoft Office PowerPoint</Application>
  <PresentationFormat>Широкоэкранный</PresentationFormat>
  <Paragraphs>319</Paragraphs>
  <Slides>22</Slides>
  <Notes>7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8" baseType="lpstr">
      <vt:lpstr>Arial</vt:lpstr>
      <vt:lpstr>Calibri</vt:lpstr>
      <vt:lpstr>Calibri Light</vt:lpstr>
      <vt:lpstr>Times New Roman</vt:lpstr>
      <vt:lpstr>Wingdings</vt:lpstr>
      <vt:lpstr>Тема Office</vt:lpstr>
      <vt:lpstr>ОТЧЕТ по социально-воспитательной работе и реализации культурно-творческих проектов Казахского Национального медицинского университета имени С.Д. Асфендиярова  за  2020-2021 учебный год </vt:lpstr>
      <vt:lpstr> НАПРАВЛЕНИЯ РАБОТЫ  УПРАВЛЕНИЯ МОЛОДЕЖНОЙ ПОЛИТИКИ</vt:lpstr>
      <vt:lpstr>НАПРАВЛЕНИЯ РАБОТЫ  УПРАВЛЕНИЯ МОЛОДЕЖНОЙ ПОЛИТИКИ (2) </vt:lpstr>
      <vt:lpstr>Презентация PowerPoint</vt:lpstr>
      <vt:lpstr>Презентация PowerPoint</vt:lpstr>
      <vt:lpstr>Презентация PowerPoint</vt:lpstr>
      <vt:lpstr>Обеспечение активного участия студентов в органах студенческого самоуправления</vt:lpstr>
      <vt:lpstr>Студенческий строительный отряд</vt:lpstr>
      <vt:lpstr>Создание системы обеспечения студентов психологической, социальной поддержкой </vt:lpstr>
      <vt:lpstr> Создание системы обеспечения студентов психологической, социальной поддержкой (2)</vt:lpstr>
      <vt:lpstr> Культурно-массовые мероприятия</vt:lpstr>
      <vt:lpstr>    В рамках реализации программы «Рухани Жаңғыру» организованы более 40 творческих, литературно-поэтических и интеллектуальных   мероприятий об истории, личностях и культуре Казахстана. </vt:lpstr>
      <vt:lpstr>Мероприятия, посвященные национальному и  государственным праздникам </vt:lpstr>
      <vt:lpstr>Развитие здорового образа жизни и  массового спорта  </vt:lpstr>
      <vt:lpstr>Противодействие идеям религиозного  экстремизма и терроризма </vt:lpstr>
      <vt:lpstr> Формирование антикоррупционной культуры</vt:lpstr>
      <vt:lpstr>Презентация PowerPoint</vt:lpstr>
      <vt:lpstr>Развитие волонтерства среди студентов</vt:lpstr>
      <vt:lpstr>Развитие волонтерства среди студентов</vt:lpstr>
      <vt:lpstr>Презентация PowerPoint</vt:lpstr>
      <vt:lpstr>Проект решения: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SUS</dc:creator>
  <cp:lastModifiedBy>User</cp:lastModifiedBy>
  <cp:revision>126</cp:revision>
  <cp:lastPrinted>2020-06-11T05:53:16Z</cp:lastPrinted>
  <dcterms:created xsi:type="dcterms:W3CDTF">2020-06-09T16:59:16Z</dcterms:created>
  <dcterms:modified xsi:type="dcterms:W3CDTF">2023-02-14T09:41:42Z</dcterms:modified>
</cp:coreProperties>
</file>